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0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1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2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4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5.xml" ContentType="application/vnd.openxmlformats-officedocument.theme+xml"/>
  <Override PartName="/ppt/tags/tag28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6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7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8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20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1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22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23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5917" r:id="rId1"/>
    <p:sldMasterId id="2147485925" r:id="rId2"/>
    <p:sldMasterId id="2147485933" r:id="rId3"/>
    <p:sldMasterId id="2147485941" r:id="rId4"/>
    <p:sldMasterId id="2147485949" r:id="rId5"/>
    <p:sldMasterId id="2147485959" r:id="rId6"/>
    <p:sldMasterId id="2147485973" r:id="rId7"/>
    <p:sldMasterId id="2147485985" r:id="rId8"/>
    <p:sldMasterId id="2147486021" r:id="rId9"/>
    <p:sldMasterId id="2147486047" r:id="rId10"/>
    <p:sldMasterId id="2147486093" r:id="rId11"/>
    <p:sldMasterId id="2147486109" r:id="rId12"/>
    <p:sldMasterId id="2147486137" r:id="rId13"/>
    <p:sldMasterId id="2147486145" r:id="rId14"/>
    <p:sldMasterId id="2147486158" r:id="rId15"/>
    <p:sldMasterId id="2147486165" r:id="rId16"/>
    <p:sldMasterId id="2147486173" r:id="rId17"/>
    <p:sldMasterId id="2147486188" r:id="rId18"/>
    <p:sldMasterId id="2147486198" r:id="rId19"/>
    <p:sldMasterId id="2147486202" r:id="rId20"/>
    <p:sldMasterId id="2147486208" r:id="rId21"/>
    <p:sldMasterId id="2147486218" r:id="rId22"/>
    <p:sldMasterId id="2147486226" r:id="rId23"/>
  </p:sldMasterIdLst>
  <p:notesMasterIdLst>
    <p:notesMasterId r:id="rId25"/>
  </p:notesMasterIdLst>
  <p:sldIdLst>
    <p:sldId id="1021" r:id="rId24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ullin, Kimberly F" initials="PKF" lastIdx="2" clrIdx="0">
    <p:extLst>
      <p:ext uri="{19B8F6BF-5375-455C-9EA6-DF929625EA0E}">
        <p15:presenceInfo xmlns:p15="http://schemas.microsoft.com/office/powerpoint/2012/main" userId="S::Kimberly.Pullin@va.gov::02258d7e-c4e5-4699-836e-3823230ac69f" providerId="AD"/>
      </p:ext>
    </p:extLst>
  </p:cmAuthor>
  <p:cmAuthor id="2" name="Gruszkowski, Ashley N" initials="GAN" lastIdx="11" clrIdx="1">
    <p:extLst>
      <p:ext uri="{19B8F6BF-5375-455C-9EA6-DF929625EA0E}">
        <p15:presenceInfo xmlns:p15="http://schemas.microsoft.com/office/powerpoint/2012/main" userId="S::Ashley.Gruszkowski@va.gov::22e0ef9b-73b5-4752-88a9-755cf6a28a1d" providerId="AD"/>
      </p:ext>
    </p:extLst>
  </p:cmAuthor>
  <p:cmAuthor id="3" name="Jackson, Tiffiany" initials="JT" lastIdx="5" clrIdx="2">
    <p:extLst>
      <p:ext uri="{19B8F6BF-5375-455C-9EA6-DF929625EA0E}">
        <p15:presenceInfo xmlns:p15="http://schemas.microsoft.com/office/powerpoint/2012/main" userId="S::Tiffiany.Jackson@va.gov::f5474f57-6332-4e86-9c37-005226fcf35b" providerId="AD"/>
      </p:ext>
    </p:extLst>
  </p:cmAuthor>
  <p:cmAuthor id="4" name="Badylak-Reals, Jennifer T" initials="BJT" lastIdx="9" clrIdx="3">
    <p:extLst>
      <p:ext uri="{19B8F6BF-5375-455C-9EA6-DF929625EA0E}">
        <p15:presenceInfo xmlns:p15="http://schemas.microsoft.com/office/powerpoint/2012/main" userId="S::Jennifer.Badylak-Reals@va.gov::23adf4f8-4203-4474-9e1c-0efa665637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12" autoAdjust="0"/>
    <p:restoredTop sz="94291" autoAdjust="0"/>
  </p:normalViewPr>
  <p:slideViewPr>
    <p:cSldViewPr>
      <p:cViewPr varScale="1">
        <p:scale>
          <a:sx n="60" d="100"/>
          <a:sy n="60" d="100"/>
        </p:scale>
        <p:origin x="1018" y="53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0536CBF-BA63-4221-932C-B0565D5C3478}" type="doc">
      <dgm:prSet loTypeId="urn:microsoft.com/office/officeart/2005/8/layout/hList6" loCatId="list" qsTypeId="urn:microsoft.com/office/officeart/2005/8/quickstyle/3d3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35B28E38-6CC3-4341-9848-B336ADFA4324}" type="pres">
      <dgm:prSet presAssocID="{70536CBF-BA63-4221-932C-B0565D5C347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AD06ED83-135C-4972-9D69-49377AA29278}" type="presOf" srcId="{70536CBF-BA63-4221-932C-B0565D5C3478}" destId="{35B28E38-6CC3-4341-9848-B336ADFA4324}" srcOrd="0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BD412E02-A2E4-41AD-9C56-5CCE5F462A6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8031A8B-8F8E-4650-B7A4-60D0E047653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009F18E-1869-477D-BDAF-DCC5CA40F3DF}" type="datetimeFigureOut">
              <a:rPr lang="en-US"/>
              <a:pPr>
                <a:defRPr/>
              </a:pPr>
              <a:t>6/18/2020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xmlns="" id="{8B760764-B403-4DD6-88FF-41A0F081A2C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641A21F9-D56A-49CB-AD52-AE6538F480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9A61B73-B026-4DAB-87C5-F63D10C682F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943DDB7-906F-4B17-B559-EA173D66E2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868CD11-D67A-471D-9208-E0D0461B47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6478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11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6.pn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5F6B576-EDF7-4A82-938C-CFA849B06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A09F6543-1310-40EA-9C5E-BCA63447E7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30763"/>
          </a:xfrm>
        </p:spPr>
        <p:txBody>
          <a:bodyPr/>
          <a:lstStyle>
            <a:lvl1pPr>
              <a:defRPr>
                <a:latin typeface="Calibri (Headings)"/>
              </a:defRPr>
            </a:lvl1pPr>
            <a:lvl2pPr>
              <a:defRPr>
                <a:latin typeface="Calibri (Headings)"/>
              </a:defRPr>
            </a:lvl2pPr>
            <a:lvl3pPr>
              <a:defRPr>
                <a:latin typeface="Calibri (Headings)"/>
              </a:defRPr>
            </a:lvl3pPr>
            <a:lvl4pPr>
              <a:defRPr>
                <a:latin typeface="Calibri (Headings)"/>
              </a:defRPr>
            </a:lvl4pPr>
            <a:lvl5pPr>
              <a:defRPr>
                <a:latin typeface="Calibri (Headings)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5AB9E2E-2622-45D3-B42A-FE97A5777D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0062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21471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742EC64A-3E7A-40AE-A355-3BEFD75C5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448" y="73152"/>
            <a:ext cx="8915400" cy="758952"/>
          </a:xfrm>
        </p:spPr>
        <p:txBody>
          <a:bodyPr>
            <a:normAutofit/>
          </a:bodyPr>
          <a:lstStyle>
            <a:lvl1pPr algn="ctr">
              <a:defRPr sz="2700">
                <a:solidFill>
                  <a:schemeClr val="bg1"/>
                </a:solidFill>
                <a:latin typeface="Calibri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530161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9454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334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524627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7032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530977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93868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530161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8867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530161"/>
            <a:ext cx="2133600" cy="365125"/>
          </a:xfrm>
        </p:spPr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75265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530161"/>
            <a:ext cx="2133600" cy="365125"/>
          </a:xfrm>
        </p:spPr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20903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7A4E5FD8-B71B-452A-936A-2690B8F6F1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054227"/>
            <a:ext cx="7772400" cy="1470025"/>
          </a:xfrm>
        </p:spPr>
        <p:txBody>
          <a:bodyPr/>
          <a:lstStyle>
            <a:lvl1pPr algn="ctr">
              <a:defRPr sz="2700">
                <a:solidFill>
                  <a:schemeClr val="tx1"/>
                </a:solidFill>
                <a:latin typeface="Calibri Light (Headings)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4A9B360C-1FE9-491C-AC66-FA34A808A4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71600" y="38100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EE68706C-4B4D-4E31-BF75-1E7F4D4F91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17937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xmlns="" id="{0997CD0D-9D24-4E17-9281-0BBAEBEB0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60960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8FA0B8C5-B07C-46B2-A194-575A20C3A2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17639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xmlns="" id="{D4308AFC-87C4-4334-9E08-7DEAE8E42B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417639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FC86AF11-9946-4525-8A0C-602E2088A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51410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8B8B90B0-575F-47AD-B46D-111D89FE7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70721"/>
            <a:ext cx="8229600" cy="82311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A9805BF6-A82B-48DB-BA27-A65866F7AB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493838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B958CFB5-9C9E-4603-BCE3-4E08E1683E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" y="2144712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A2173B90-24B7-4B96-B283-20472BB320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45026" y="1493838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xmlns="" id="{F1D4FD36-5480-4B06-8B6D-A45481E7D6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5026" y="2144712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xmlns="" id="{FB6AC470-2631-45C2-B09D-E2D46B3F81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03084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E479162-5006-4C7D-8ED6-F17E1655A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6F3AFBD6-2E31-4C93-AE26-01C515DB1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759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3"/>
            <a:ext cx="3008313" cy="1162051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3" y="273057"/>
            <a:ext cx="5111751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7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964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CAE26A74-C4E1-4EDB-B760-273420CBB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4202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xmlns="" id="{28EC784B-6DFD-4590-9012-42C4CEF67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62000"/>
            <a:ext cx="3008313" cy="1162050"/>
          </a:xfrm>
        </p:spPr>
        <p:txBody>
          <a:bodyPr anchor="b"/>
          <a:lstStyle>
            <a:lvl1pPr algn="l">
              <a:defRPr sz="15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46D8870B-6B4E-4085-8958-BDADF1DFC4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5050" y="762001"/>
            <a:ext cx="5111750" cy="5213350"/>
          </a:xfrm>
        </p:spPr>
        <p:txBody>
          <a:bodyPr/>
          <a:lstStyle>
            <a:lvl1pPr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7BFDD5AC-BF31-48C9-A7B0-D63A76D9A5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1924052"/>
            <a:ext cx="3008313" cy="405130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86966218-1EE7-4C20-870A-99D457537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8302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3569E5AF-F234-470C-9DE8-4280D66A2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xmlns="" id="{8676F200-A676-4F3E-9345-E4C854A687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792288" y="685800"/>
            <a:ext cx="5486400" cy="404177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D8CC0A70-9D39-4CEC-B24F-2378B24F91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7286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xmlns="" id="{DF703FA3-31B8-4523-AA99-0068D8107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2758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E479162-5006-4C7D-8ED6-F17E1655A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0" y="3886200"/>
            <a:ext cx="8229600" cy="731838"/>
          </a:xfrm>
        </p:spPr>
        <p:txBody>
          <a:bodyPr/>
          <a:lstStyle>
            <a:lvl1pPr algn="l"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6F3AFBD6-2E31-4C93-AE26-01C515DB1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2521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1A1DA85C-AB89-497B-B718-75DF58055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1474E5A9-EBBC-4E94-A4AC-CB6DE78F0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5239"/>
            <a:ext cx="8229600" cy="4525963"/>
          </a:xfrm>
        </p:spPr>
        <p:txBody>
          <a:bodyPr/>
          <a:lstStyle>
            <a:lvl1pPr>
              <a:defRPr>
                <a:latin typeface="Calibri (Body)"/>
                <a:cs typeface="Calibri" panose="020F0502020204030204" pitchFamily="34" charset="0"/>
              </a:defRPr>
            </a:lvl1pPr>
            <a:lvl2pPr>
              <a:defRPr>
                <a:latin typeface="Calibri (Body)"/>
                <a:cs typeface="Calibri" panose="020F0502020204030204" pitchFamily="34" charset="0"/>
              </a:defRPr>
            </a:lvl2pPr>
            <a:lvl3pPr>
              <a:defRPr>
                <a:latin typeface="Calibri (Body)"/>
                <a:cs typeface="Calibri" panose="020F0502020204030204" pitchFamily="34" charset="0"/>
              </a:defRPr>
            </a:lvl3pPr>
            <a:lvl4pPr>
              <a:defRPr>
                <a:latin typeface="Calibri (Body)"/>
                <a:cs typeface="Calibri" panose="020F0502020204030204" pitchFamily="34" charset="0"/>
              </a:defRPr>
            </a:lvl4pPr>
            <a:lvl5pPr>
              <a:defRPr>
                <a:latin typeface="Calibri (Body)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E83D54E0-FB02-4090-A9CF-0CB4C9EE4F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591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xmlns="" id="{75D17B43-F555-4971-9FAD-475D69F19AD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22313" y="4138615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700">
                <a:solidFill>
                  <a:schemeClr val="tx1"/>
                </a:solidFill>
                <a:latin typeface="Calibri (Heading)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58326922-220E-4EC3-89F8-782782BCB2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3" y="2590802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2F4E8164-C12D-4F26-8768-6FDEDAA62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92188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27C00A-59B4-49D0-B7AC-1D016A02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21771"/>
            <a:ext cx="8610600" cy="67709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6F48B1-7BC3-4A7B-9F48-793D8612DD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838202"/>
            <a:ext cx="8610600" cy="50291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65A9B036-5FE2-4A79-9C97-083A096376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2500" y="5762512"/>
            <a:ext cx="37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59246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10F53EB-D938-4F90-A300-54D21B94C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xmlns="" id="{D19D2D2C-5BD1-411D-BB57-FB2A522E6D2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28600" y="838202"/>
            <a:ext cx="8610600" cy="50291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7C684A9-6552-4BE4-A4D4-6F71B91420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28977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152"/>
            <a:ext cx="7772400" cy="19842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600" y="4191000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859971" y="457200"/>
            <a:ext cx="77724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3200" dirty="0"/>
              <a:t>VETERANS HEALTH ADMINISTRATION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19981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8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749139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5"/>
            <a:ext cx="5486400" cy="56673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8048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77525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136635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5878995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5451103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F458E45-1875-6342-BF4B-D4EB3A67EC0D}"/>
              </a:ext>
            </a:extLst>
          </p:cNvPr>
          <p:cNvSpPr/>
          <p:nvPr userDrawn="1"/>
        </p:nvSpPr>
        <p:spPr>
          <a:xfrm>
            <a:off x="0" y="2"/>
            <a:ext cx="9144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2390" y="1361281"/>
            <a:ext cx="7514789" cy="4223250"/>
          </a:xfrm>
        </p:spPr>
        <p:txBody>
          <a:bodyPr>
            <a:normAutofit/>
          </a:bodyPr>
          <a:lstStyle>
            <a:lvl1pPr algn="l">
              <a:defRPr sz="3713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6"/>
            <a:ext cx="2133600" cy="365125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675" smtClean="0">
                <a:solidFill>
                  <a:prstClr val="white"/>
                </a:solidFill>
              </a:rPr>
              <a:pPr/>
              <a:t>‹#›</a:t>
            </a:fld>
            <a:endParaRPr lang="en-US" sz="675" dirty="0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9DA6BBF0-4C99-9E43-A268-9808FEC5BF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200" y="5463378"/>
            <a:ext cx="2590801" cy="556422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xmlns="" id="{1CBEA35C-87BD-104C-9408-47C9ECD262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53" y="5464313"/>
            <a:ext cx="2117894" cy="569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3022069" y="6342744"/>
            <a:ext cx="29754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/>
              <a:t>Predecisional</a:t>
            </a:r>
            <a:r>
              <a:rPr lang="en-US" sz="900" baseline="0" dirty="0"/>
              <a:t> / For Internal VA Use Only</a:t>
            </a:r>
            <a:endParaRPr lang="en-US" sz="900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1371600"/>
            <a:ext cx="8263548" cy="2895600"/>
            <a:chOff x="0" y="1295400"/>
            <a:chExt cx="8263548" cy="2895600"/>
          </a:xfrm>
        </p:grpSpPr>
        <p:sp>
          <p:nvSpPr>
            <p:cNvPr id="6" name="Isosceles Triangle 5"/>
            <p:cNvSpPr/>
            <p:nvPr userDrawn="1"/>
          </p:nvSpPr>
          <p:spPr>
            <a:xfrm rot="10800000">
              <a:off x="7086599" y="2895600"/>
              <a:ext cx="1176948" cy="12954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295400"/>
              <a:ext cx="8263548" cy="1600200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" y="3476508"/>
              <a:ext cx="6705600" cy="45719"/>
            </a:xfrm>
            <a:prstGeom prst="rect">
              <a:avLst/>
            </a:prstGeom>
            <a:solidFill>
              <a:srgbClr val="7724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85818329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3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6937831" y="6400236"/>
            <a:ext cx="2133600" cy="365125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675" smtClean="0">
                <a:solidFill>
                  <a:prstClr val="white"/>
                </a:solidFill>
              </a:rPr>
              <a:pPr/>
              <a:t>‹#›</a:t>
            </a:fld>
            <a:endParaRPr lang="en-US" sz="675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01873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C0A8C-43F7-45AF-8E06-5B1AB11E6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19093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C0A8C-43F7-45AF-8E06-5B1AB11E6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40033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5"/>
            <a:ext cx="3008313" cy="1162051"/>
          </a:xfrm>
        </p:spPr>
        <p:txBody>
          <a:bodyPr anchor="b"/>
          <a:lstStyle>
            <a:lvl1pPr algn="l">
              <a:defRPr sz="112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4" y="273059"/>
            <a:ext cx="5111751" cy="5853113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9"/>
            <a:ext cx="3008313" cy="4691063"/>
          </a:xfrm>
        </p:spPr>
        <p:txBody>
          <a:bodyPr/>
          <a:lstStyle>
            <a:lvl1pPr marL="0" indent="0">
              <a:buNone/>
              <a:defRPr sz="788"/>
            </a:lvl1pPr>
            <a:lvl2pPr marL="257175" indent="0">
              <a:buNone/>
              <a:defRPr sz="675"/>
            </a:lvl2pPr>
            <a:lvl3pPr marL="514350" indent="0">
              <a:buNone/>
              <a:defRPr sz="563"/>
            </a:lvl3pPr>
            <a:lvl4pPr marL="771525" indent="0">
              <a:buNone/>
              <a:defRPr sz="506"/>
            </a:lvl4pPr>
            <a:lvl5pPr marL="1028700" indent="0">
              <a:buNone/>
              <a:defRPr sz="506"/>
            </a:lvl5pPr>
            <a:lvl6pPr marL="1285875" indent="0">
              <a:buNone/>
              <a:defRPr sz="506"/>
            </a:lvl6pPr>
            <a:lvl7pPr marL="1543050" indent="0">
              <a:buNone/>
              <a:defRPr sz="506"/>
            </a:lvl7pPr>
            <a:lvl8pPr marL="1800225" indent="0">
              <a:buNone/>
              <a:defRPr sz="506"/>
            </a:lvl8pPr>
            <a:lvl9pPr marL="2057400" indent="0">
              <a:buNone/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C0A8C-43F7-45AF-8E06-5B1AB11E6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4424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7"/>
            <a:ext cx="5486400" cy="566739"/>
          </a:xfrm>
        </p:spPr>
        <p:txBody>
          <a:bodyPr anchor="b"/>
          <a:lstStyle>
            <a:lvl1pPr algn="l">
              <a:defRPr sz="112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4"/>
            <a:ext cx="5486400" cy="804863"/>
          </a:xfrm>
        </p:spPr>
        <p:txBody>
          <a:bodyPr/>
          <a:lstStyle>
            <a:lvl1pPr marL="0" indent="0">
              <a:buNone/>
              <a:defRPr sz="788"/>
            </a:lvl1pPr>
            <a:lvl2pPr marL="257175" indent="0">
              <a:buNone/>
              <a:defRPr sz="675"/>
            </a:lvl2pPr>
            <a:lvl3pPr marL="514350" indent="0">
              <a:buNone/>
              <a:defRPr sz="563"/>
            </a:lvl3pPr>
            <a:lvl4pPr marL="771525" indent="0">
              <a:buNone/>
              <a:defRPr sz="506"/>
            </a:lvl4pPr>
            <a:lvl5pPr marL="1028700" indent="0">
              <a:buNone/>
              <a:defRPr sz="506"/>
            </a:lvl5pPr>
            <a:lvl6pPr marL="1285875" indent="0">
              <a:buNone/>
              <a:defRPr sz="506"/>
            </a:lvl6pPr>
            <a:lvl7pPr marL="1543050" indent="0">
              <a:buNone/>
              <a:defRPr sz="506"/>
            </a:lvl7pPr>
            <a:lvl8pPr marL="1800225" indent="0">
              <a:buNone/>
              <a:defRPr sz="506"/>
            </a:lvl8pPr>
            <a:lvl9pPr marL="2057400" indent="0">
              <a:buNone/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C0A8C-43F7-45AF-8E06-5B1AB11E6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77907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fld id="{01C0837D-483A-4F8F-996F-BEEB6089FCA6}" type="datetimeFigureOut">
              <a:rPr lang="en-US" smtClean="0"/>
              <a:t>6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C0A8C-43F7-45AF-8E06-5B1AB11E6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242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3429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17734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5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5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fld id="{01C0837D-483A-4F8F-996F-BEEB6089FCA6}" type="datetimeFigureOut">
              <a:rPr lang="en-US" smtClean="0"/>
              <a:t>6/1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6C0A8C-43F7-45AF-8E06-5B1AB11E6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46351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6937830" y="6400231"/>
            <a:ext cx="21336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900" smtClean="0">
                <a:solidFill>
                  <a:prstClr val="white"/>
                </a:solidFill>
              </a:rPr>
              <a:pPr/>
              <a:t>‹#›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19546544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491307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89600295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39719715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5" y="6351680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3318683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27499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43087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2286000" y="6553200"/>
            <a:ext cx="35052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50" dirty="0">
              <a:latin typeface="Georgia"/>
              <a:cs typeface="Georgia"/>
            </a:endParaRPr>
          </a:p>
        </p:txBody>
      </p:sp>
      <p:sp>
        <p:nvSpPr>
          <p:cNvPr id="10" name="Footer Placeholder 2"/>
          <p:cNvSpPr txBox="1">
            <a:spLocks/>
          </p:cNvSpPr>
          <p:nvPr userDrawn="1"/>
        </p:nvSpPr>
        <p:spPr>
          <a:xfrm>
            <a:off x="381000" y="6553200"/>
            <a:ext cx="11430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50" dirty="0">
              <a:latin typeface="Georgia"/>
              <a:cs typeface="Georgia"/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/>
        </p:nvSpPr>
        <p:spPr>
          <a:xfrm>
            <a:off x="5410200" y="6553200"/>
            <a:ext cx="35052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50" dirty="0">
              <a:latin typeface="Georgia"/>
              <a:cs typeface="Georgia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914400" y="317500"/>
            <a:ext cx="6705600" cy="2423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cap="all" dirty="0">
                <a:solidFill>
                  <a:schemeClr val="bg1"/>
                </a:solidFill>
                <a:latin typeface="Georgia"/>
                <a:cs typeface="Georgia"/>
              </a:rPr>
              <a:t>Vha MEMBER</a:t>
            </a:r>
            <a:r>
              <a:rPr lang="en-US" sz="975" cap="all" baseline="0" dirty="0">
                <a:solidFill>
                  <a:schemeClr val="bg1"/>
                </a:solidFill>
                <a:latin typeface="Georgia"/>
                <a:cs typeface="Georgia"/>
              </a:rPr>
              <a:t> SERVICES</a:t>
            </a:r>
            <a:endParaRPr lang="en-US" sz="975" cap="all" dirty="0">
              <a:solidFill>
                <a:schemeClr val="bg1"/>
              </a:solidFill>
              <a:latin typeface="Georgia"/>
              <a:cs typeface="Georgia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14401" y="1935957"/>
            <a:ext cx="4041775" cy="63976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b"/>
          <a:lstStyle>
            <a:lvl1pPr marL="0" indent="0">
              <a:buNone/>
              <a:defRPr sz="1500" b="0">
                <a:solidFill>
                  <a:srgbClr val="174782"/>
                </a:solidFill>
                <a:latin typeface="Georgia"/>
                <a:cs typeface="Georgi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 hasCustomPrompt="1"/>
          </p:nvPr>
        </p:nvSpPr>
        <p:spPr>
          <a:xfrm>
            <a:off x="914400" y="2575719"/>
            <a:ext cx="3660775" cy="283448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0" indent="0" algn="l">
              <a:buFont typeface="+mj-lt"/>
              <a:buAutoNum type="romanUcPeriod"/>
              <a:defRPr sz="1350" b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1pPr>
            <a:lvl2pPr marL="157734" indent="0" algn="l">
              <a:buFont typeface="+mj-lt"/>
              <a:buAutoNum type="alphaUcPeriod"/>
              <a:defRPr sz="1200" b="1" i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2pPr>
            <a:lvl3pPr marL="356616" indent="0" algn="l">
              <a:buFont typeface="+mj-lt"/>
              <a:buAutoNum type="arabicPeriod"/>
              <a:defRPr sz="12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3pPr>
            <a:lvl4pPr marL="521208" indent="0" algn="l">
              <a:buFont typeface="+mj-lt"/>
              <a:buAutoNum type="alphaLcParenR"/>
              <a:defRPr sz="12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4pPr>
            <a:lvl5pPr marL="699516" indent="0" algn="l">
              <a:buFont typeface="Arial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102226" y="1935957"/>
            <a:ext cx="4041775" cy="63976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b"/>
          <a:lstStyle>
            <a:lvl1pPr marL="0" indent="0">
              <a:buNone/>
              <a:defRPr sz="1500" b="0">
                <a:solidFill>
                  <a:srgbClr val="174782"/>
                </a:solidFill>
                <a:latin typeface="Georgia"/>
                <a:cs typeface="Georgia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1257300"/>
            <a:ext cx="7467600" cy="6858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l">
              <a:defRPr sz="2100" b="1" i="0" baseline="0">
                <a:solidFill>
                  <a:srgbClr val="174782"/>
                </a:solidFill>
                <a:latin typeface="Georgia"/>
                <a:cs typeface="Georgia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7" hasCustomPrompt="1"/>
          </p:nvPr>
        </p:nvSpPr>
        <p:spPr>
          <a:xfrm>
            <a:off x="5105400" y="2575719"/>
            <a:ext cx="3581400" cy="283448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0" indent="0" algn="l">
              <a:buFont typeface="+mj-lt"/>
              <a:buAutoNum type="romanUcPeriod"/>
              <a:defRPr sz="1350" b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1pPr>
            <a:lvl2pPr marL="157734" indent="0" algn="l">
              <a:buFont typeface="+mj-lt"/>
              <a:buAutoNum type="alphaUcPeriod"/>
              <a:defRPr sz="1200" b="1" i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2pPr>
            <a:lvl3pPr marL="356616" indent="0" algn="l">
              <a:buFont typeface="+mj-lt"/>
              <a:buAutoNum type="arabicPeriod"/>
              <a:defRPr sz="12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3pPr>
            <a:lvl4pPr marL="521208" indent="0" algn="l">
              <a:buFont typeface="+mj-lt"/>
              <a:buAutoNum type="alphaLcParenR"/>
              <a:defRPr sz="12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4pPr>
            <a:lvl5pPr marL="699516" indent="0" algn="l">
              <a:buFont typeface="Arial"/>
              <a:buChar char="•"/>
              <a:defRPr sz="12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6465878" y="589643"/>
            <a:ext cx="2678121" cy="242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b="1" cap="all" dirty="0">
                <a:solidFill>
                  <a:schemeClr val="bg1"/>
                </a:solidFill>
                <a:latin typeface="Georgia"/>
                <a:cs typeface="Georgia"/>
              </a:rPr>
              <a:t>DRAFT / PILOT TRAINING</a:t>
            </a:r>
          </a:p>
        </p:txBody>
      </p:sp>
    </p:spTree>
    <p:extLst>
      <p:ext uri="{BB962C8B-B14F-4D97-AF65-F5344CB8AC3E}">
        <p14:creationId xmlns:p14="http://schemas.microsoft.com/office/powerpoint/2010/main" val="16881329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5F6B576-EDF7-4A82-938C-CFA849B06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A09F6543-1310-40EA-9C5E-BCA63447E7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95403"/>
            <a:ext cx="8229600" cy="4830763"/>
          </a:xfrm>
        </p:spPr>
        <p:txBody>
          <a:bodyPr/>
          <a:lstStyle>
            <a:lvl1pPr>
              <a:defRPr>
                <a:latin typeface="Calibri (Headings)"/>
              </a:defRPr>
            </a:lvl1pPr>
            <a:lvl2pPr>
              <a:defRPr>
                <a:latin typeface="Calibri (Headings)"/>
              </a:defRPr>
            </a:lvl2pPr>
            <a:lvl3pPr>
              <a:defRPr>
                <a:latin typeface="Calibri (Headings)"/>
              </a:defRPr>
            </a:lvl3pPr>
            <a:lvl4pPr>
              <a:defRPr>
                <a:latin typeface="Calibri (Headings)"/>
              </a:defRPr>
            </a:lvl4pPr>
            <a:lvl5pPr>
              <a:defRPr>
                <a:latin typeface="Calibri (Headings)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5AB9E2E-2622-45D3-B42A-FE97A5777D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7814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3429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8731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1A1DA85C-AB89-497B-B718-75DF58055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1474E5A9-EBBC-4E94-A4AC-CB6DE78F0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5241"/>
            <a:ext cx="8229600" cy="4525963"/>
          </a:xfrm>
        </p:spPr>
        <p:txBody>
          <a:bodyPr/>
          <a:lstStyle>
            <a:lvl1pPr>
              <a:defRPr>
                <a:latin typeface="Calibri (Body)"/>
                <a:cs typeface="Calibri" panose="020F0502020204030204" pitchFamily="34" charset="0"/>
              </a:defRPr>
            </a:lvl1pPr>
            <a:lvl2pPr>
              <a:defRPr>
                <a:latin typeface="Calibri (Body)"/>
                <a:cs typeface="Calibri" panose="020F0502020204030204" pitchFamily="34" charset="0"/>
              </a:defRPr>
            </a:lvl2pPr>
            <a:lvl3pPr>
              <a:defRPr>
                <a:latin typeface="Calibri (Body)"/>
                <a:cs typeface="Calibri" panose="020F0502020204030204" pitchFamily="34" charset="0"/>
              </a:defRPr>
            </a:lvl3pPr>
            <a:lvl4pPr>
              <a:defRPr>
                <a:latin typeface="Calibri (Body)"/>
                <a:cs typeface="Calibri" panose="020F0502020204030204" pitchFamily="34" charset="0"/>
              </a:defRPr>
            </a:lvl4pPr>
            <a:lvl5pPr>
              <a:defRPr>
                <a:latin typeface="Calibri (Body)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E83D54E0-FB02-4090-A9CF-0CB4C9EE4F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5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843795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84519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89757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58166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55841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91354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it-IT">
                <a:solidFill>
                  <a:srgbClr val="000000"/>
                </a:solidFill>
              </a:rPr>
              <a:t>Draft - Pre-Decisional Deliberative Document 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26384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it-IT">
                <a:solidFill>
                  <a:srgbClr val="000000"/>
                </a:solidFill>
              </a:rPr>
              <a:t>Draft - Pre-Decisional Deliberative Document 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72534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4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734"/>
            <a:ext cx="5976011" cy="450535"/>
          </a:xfrm>
        </p:spPr>
        <p:txBody>
          <a:bodyPr/>
          <a:lstStyle>
            <a:lvl1pPr marL="0" indent="0" algn="l">
              <a:buNone/>
              <a:defRPr sz="1125">
                <a:solidFill>
                  <a:schemeClr val="tx1"/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6937831" y="6400236"/>
            <a:ext cx="2133600" cy="365125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675" smtClean="0">
                <a:solidFill>
                  <a:prstClr val="white"/>
                </a:solidFill>
              </a:rPr>
              <a:pPr/>
              <a:t>‹#›</a:t>
            </a:fld>
            <a:endParaRPr lang="en-US" sz="675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537695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1435" tIns="25718" rIns="51435" bIns="25718" rtlCol="0" anchor="ctr"/>
          <a:lstStyle/>
          <a:p>
            <a:pPr algn="ctr"/>
            <a:endParaRPr lang="en-US" sz="1013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7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05300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101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8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1435" tIns="25718" rIns="51435" bIns="25718" rtlCol="0" anchor="ctr"/>
          <a:lstStyle/>
          <a:p>
            <a:pPr algn="ctr" defTabSz="257175"/>
            <a:endParaRPr lang="en-US" sz="1013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7914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31"/>
            <a:ext cx="21336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900" smtClean="0">
                <a:solidFill>
                  <a:prstClr val="white"/>
                </a:solidFill>
              </a:rPr>
              <a:pPr/>
              <a:t>‹#›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95875744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xmlns="" id="{3B25E3D6-2A2E-464A-8CB9-910A73E922D2}"/>
              </a:ext>
            </a:extLst>
          </p:cNvPr>
          <p:cNvCxnSpPr/>
          <p:nvPr/>
        </p:nvCxnSpPr>
        <p:spPr>
          <a:xfrm>
            <a:off x="919770" y="4878388"/>
            <a:ext cx="7302182" cy="0"/>
          </a:xfrm>
          <a:prstGeom prst="line">
            <a:avLst/>
          </a:prstGeom>
          <a:ln w="36068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79">
            <a:extLst>
              <a:ext uri="{FF2B5EF4-FFF2-40B4-BE49-F238E27FC236}">
                <a16:creationId xmlns:a16="http://schemas.microsoft.com/office/drawing/2014/main" xmlns="" id="{7AC1507B-4D7E-4A03-BD68-719F3B4FFFFE}"/>
              </a:ext>
            </a:extLst>
          </p:cNvPr>
          <p:cNvGrpSpPr/>
          <p:nvPr/>
        </p:nvGrpSpPr>
        <p:grpSpPr>
          <a:xfrm>
            <a:off x="823757" y="3580940"/>
            <a:ext cx="192024" cy="1426311"/>
            <a:chOff x="1098343" y="3580937"/>
            <a:chExt cx="256032" cy="1426311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xmlns="" id="{F344BED5-CC6A-4BE9-A525-8E8D0064488A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63419" y="4243877"/>
              <a:ext cx="1325880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>
              <a:extLst>
                <a:ext uri="{FF2B5EF4-FFF2-40B4-BE49-F238E27FC236}">
                  <a16:creationId xmlns:a16="http://schemas.microsoft.com/office/drawing/2014/main" xmlns="" id="{A2C7B801-E8A3-4356-8E6E-5A82DA9E1443}"/>
                </a:ext>
              </a:extLst>
            </p:cNvPr>
            <p:cNvSpPr/>
            <p:nvPr/>
          </p:nvSpPr>
          <p:spPr>
            <a:xfrm>
              <a:off x="1098343" y="4751216"/>
              <a:ext cx="256032" cy="25603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BEB49D06-EF63-4C3A-910B-CB6831B16C9D}"/>
              </a:ext>
            </a:extLst>
          </p:cNvPr>
          <p:cNvGrpSpPr/>
          <p:nvPr/>
        </p:nvGrpSpPr>
        <p:grpSpPr>
          <a:xfrm>
            <a:off x="1496281" y="4439619"/>
            <a:ext cx="96012" cy="502920"/>
            <a:chOff x="1973856" y="4439619"/>
            <a:chExt cx="128016" cy="502920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xmlns="" id="{327E53F1-5E20-4EC7-87CF-EB6E9FDE9F1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18408" y="4659075"/>
              <a:ext cx="438912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32">
              <a:extLst>
                <a:ext uri="{FF2B5EF4-FFF2-40B4-BE49-F238E27FC236}">
                  <a16:creationId xmlns:a16="http://schemas.microsoft.com/office/drawing/2014/main" xmlns="" id="{4C87D9C1-E63A-4E7F-A2F2-B9441DFAFE6B}"/>
                </a:ext>
              </a:extLst>
            </p:cNvPr>
            <p:cNvSpPr/>
            <p:nvPr/>
          </p:nvSpPr>
          <p:spPr>
            <a:xfrm>
              <a:off x="1973856" y="4814523"/>
              <a:ext cx="128016" cy="128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4FA409AA-6816-4FFF-BA25-BAD4447A906F}"/>
              </a:ext>
            </a:extLst>
          </p:cNvPr>
          <p:cNvGrpSpPr/>
          <p:nvPr/>
        </p:nvGrpSpPr>
        <p:grpSpPr>
          <a:xfrm>
            <a:off x="2088840" y="4439619"/>
            <a:ext cx="96012" cy="502920"/>
            <a:chOff x="1973856" y="4439619"/>
            <a:chExt cx="128016" cy="502920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xmlns="" id="{5CA6520F-1760-430A-B65E-C626CFF2F72B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18408" y="4659075"/>
              <a:ext cx="438912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Oval 40">
              <a:extLst>
                <a:ext uri="{FF2B5EF4-FFF2-40B4-BE49-F238E27FC236}">
                  <a16:creationId xmlns:a16="http://schemas.microsoft.com/office/drawing/2014/main" xmlns="" id="{39843C49-812F-4AC4-8759-BFA1B2C480FD}"/>
                </a:ext>
              </a:extLst>
            </p:cNvPr>
            <p:cNvSpPr/>
            <p:nvPr/>
          </p:nvSpPr>
          <p:spPr>
            <a:xfrm>
              <a:off x="1973856" y="4814523"/>
              <a:ext cx="128016" cy="128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4C21F7E2-F666-48FA-AABB-65E011391734}"/>
              </a:ext>
            </a:extLst>
          </p:cNvPr>
          <p:cNvGrpSpPr/>
          <p:nvPr/>
        </p:nvGrpSpPr>
        <p:grpSpPr>
          <a:xfrm>
            <a:off x="3308825" y="4439619"/>
            <a:ext cx="96012" cy="502920"/>
            <a:chOff x="1973856" y="4439619"/>
            <a:chExt cx="128016" cy="502920"/>
          </a:xfrm>
        </p:grpSpPr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xmlns="" id="{D8569AFA-3030-46B5-8C96-BBA5D82A9D7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18408" y="4659075"/>
              <a:ext cx="438912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43">
              <a:extLst>
                <a:ext uri="{FF2B5EF4-FFF2-40B4-BE49-F238E27FC236}">
                  <a16:creationId xmlns:a16="http://schemas.microsoft.com/office/drawing/2014/main" xmlns="" id="{5F0F0204-329B-4C59-9376-DA2E190A41F2}"/>
                </a:ext>
              </a:extLst>
            </p:cNvPr>
            <p:cNvSpPr/>
            <p:nvPr/>
          </p:nvSpPr>
          <p:spPr>
            <a:xfrm>
              <a:off x="1973856" y="4814523"/>
              <a:ext cx="128016" cy="128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FD9007D7-5B92-4731-A39C-F5A6EBB39A0F}"/>
              </a:ext>
            </a:extLst>
          </p:cNvPr>
          <p:cNvGrpSpPr/>
          <p:nvPr/>
        </p:nvGrpSpPr>
        <p:grpSpPr>
          <a:xfrm>
            <a:off x="3914590" y="4439619"/>
            <a:ext cx="96012" cy="502920"/>
            <a:chOff x="1973856" y="4439619"/>
            <a:chExt cx="128016" cy="502920"/>
          </a:xfrm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xmlns="" id="{EEEC3455-89C8-487D-A4AD-5C3E0D6D737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18408" y="4659075"/>
              <a:ext cx="438912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60D5132D-9C05-4BA1-9DC5-047AD05AFCAD}"/>
                </a:ext>
              </a:extLst>
            </p:cNvPr>
            <p:cNvSpPr/>
            <p:nvPr/>
          </p:nvSpPr>
          <p:spPr>
            <a:xfrm>
              <a:off x="1973856" y="4814523"/>
              <a:ext cx="128016" cy="128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xmlns="" id="{E298C5F6-9A26-42A5-8CE6-0AB714917758}"/>
              </a:ext>
            </a:extLst>
          </p:cNvPr>
          <p:cNvGrpSpPr/>
          <p:nvPr/>
        </p:nvGrpSpPr>
        <p:grpSpPr>
          <a:xfrm>
            <a:off x="5131120" y="4439619"/>
            <a:ext cx="96012" cy="502920"/>
            <a:chOff x="6841493" y="4439619"/>
            <a:chExt cx="128016" cy="502920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xmlns="" id="{EECD6B90-8AB5-404B-8C47-296EACB3A748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686045" y="4659075"/>
              <a:ext cx="438912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Oval 49">
              <a:extLst>
                <a:ext uri="{FF2B5EF4-FFF2-40B4-BE49-F238E27FC236}">
                  <a16:creationId xmlns:a16="http://schemas.microsoft.com/office/drawing/2014/main" xmlns="" id="{019B7AA1-FBFB-4467-A894-A8493F7A6AA8}"/>
                </a:ext>
              </a:extLst>
            </p:cNvPr>
            <p:cNvSpPr/>
            <p:nvPr/>
          </p:nvSpPr>
          <p:spPr>
            <a:xfrm>
              <a:off x="6841493" y="4814523"/>
              <a:ext cx="128016" cy="128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xmlns="" id="{37A216D3-B10A-49A2-91E7-6B15001A3FB0}"/>
              </a:ext>
            </a:extLst>
          </p:cNvPr>
          <p:cNvGrpSpPr/>
          <p:nvPr/>
        </p:nvGrpSpPr>
        <p:grpSpPr>
          <a:xfrm>
            <a:off x="5740136" y="4439619"/>
            <a:ext cx="96012" cy="502920"/>
            <a:chOff x="1973856" y="4439619"/>
            <a:chExt cx="128016" cy="502920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xmlns="" id="{C9539913-F5B6-46CE-8254-5D926DEA5760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18408" y="4659075"/>
              <a:ext cx="438912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xmlns="" id="{111FC251-CB3D-4E38-ACB7-A62B2D60EB47}"/>
                </a:ext>
              </a:extLst>
            </p:cNvPr>
            <p:cNvSpPr/>
            <p:nvPr/>
          </p:nvSpPr>
          <p:spPr>
            <a:xfrm>
              <a:off x="1973856" y="4814523"/>
              <a:ext cx="128016" cy="128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xmlns="" id="{33A48BF4-E5AF-426C-B91A-E2874F887DFC}"/>
              </a:ext>
            </a:extLst>
          </p:cNvPr>
          <p:cNvGrpSpPr/>
          <p:nvPr/>
        </p:nvGrpSpPr>
        <p:grpSpPr>
          <a:xfrm>
            <a:off x="6956665" y="4439619"/>
            <a:ext cx="96012" cy="502920"/>
            <a:chOff x="1973856" y="4439619"/>
            <a:chExt cx="128016" cy="502920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xmlns="" id="{43156CFF-0844-4928-96F2-9B7989831CB0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18408" y="4659075"/>
              <a:ext cx="438912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>
              <a:extLst>
                <a:ext uri="{FF2B5EF4-FFF2-40B4-BE49-F238E27FC236}">
                  <a16:creationId xmlns:a16="http://schemas.microsoft.com/office/drawing/2014/main" xmlns="" id="{0B7D5F2D-1085-4523-9A56-C2B16A2F0464}"/>
                </a:ext>
              </a:extLst>
            </p:cNvPr>
            <p:cNvSpPr/>
            <p:nvPr/>
          </p:nvSpPr>
          <p:spPr>
            <a:xfrm>
              <a:off x="1973856" y="4814523"/>
              <a:ext cx="128016" cy="128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xmlns="" id="{B2166A5C-6403-42D7-8962-0052BEA0363E}"/>
              </a:ext>
            </a:extLst>
          </p:cNvPr>
          <p:cNvGrpSpPr/>
          <p:nvPr/>
        </p:nvGrpSpPr>
        <p:grpSpPr>
          <a:xfrm>
            <a:off x="7565681" y="4439619"/>
            <a:ext cx="96012" cy="502920"/>
            <a:chOff x="1973856" y="4439619"/>
            <a:chExt cx="128016" cy="502920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6BDD4C7A-BAE9-4341-ACA2-BC09D58B2EB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818408" y="4659075"/>
              <a:ext cx="438912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Oval 58">
              <a:extLst>
                <a:ext uri="{FF2B5EF4-FFF2-40B4-BE49-F238E27FC236}">
                  <a16:creationId xmlns:a16="http://schemas.microsoft.com/office/drawing/2014/main" xmlns="" id="{2092417B-AC2A-401B-90D8-62AA0CC234E7}"/>
                </a:ext>
              </a:extLst>
            </p:cNvPr>
            <p:cNvSpPr/>
            <p:nvPr/>
          </p:nvSpPr>
          <p:spPr>
            <a:xfrm>
              <a:off x="1973856" y="4814523"/>
              <a:ext cx="128016" cy="128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xmlns="" id="{575A635E-0C3E-4F07-842B-60231D9875D4}"/>
              </a:ext>
            </a:extLst>
          </p:cNvPr>
          <p:cNvGrpSpPr/>
          <p:nvPr/>
        </p:nvGrpSpPr>
        <p:grpSpPr>
          <a:xfrm>
            <a:off x="2649303" y="3580940"/>
            <a:ext cx="192024" cy="1426311"/>
            <a:chOff x="3532404" y="3580937"/>
            <a:chExt cx="256032" cy="1426311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CC9D07EB-53D6-4BBA-ACB6-E8F63F9A083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2997480" y="4243877"/>
              <a:ext cx="1325880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Oval 61">
              <a:extLst>
                <a:ext uri="{FF2B5EF4-FFF2-40B4-BE49-F238E27FC236}">
                  <a16:creationId xmlns:a16="http://schemas.microsoft.com/office/drawing/2014/main" xmlns="" id="{45616335-BCB9-464C-BEA1-A1E7E74FD8BE}"/>
                </a:ext>
              </a:extLst>
            </p:cNvPr>
            <p:cNvSpPr/>
            <p:nvPr/>
          </p:nvSpPr>
          <p:spPr>
            <a:xfrm>
              <a:off x="3532404" y="4751216"/>
              <a:ext cx="256032" cy="25603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xmlns="" id="{9703DC63-2401-4AD3-8B32-193667CD897E}"/>
              </a:ext>
            </a:extLst>
          </p:cNvPr>
          <p:cNvGrpSpPr/>
          <p:nvPr/>
        </p:nvGrpSpPr>
        <p:grpSpPr>
          <a:xfrm>
            <a:off x="4474849" y="3580940"/>
            <a:ext cx="192024" cy="1426311"/>
            <a:chOff x="5966465" y="3580937"/>
            <a:chExt cx="256032" cy="1426311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16A6E3F7-6319-4441-AFD9-C3D4F2972FA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431541" y="4243877"/>
              <a:ext cx="1325880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Oval 64">
              <a:extLst>
                <a:ext uri="{FF2B5EF4-FFF2-40B4-BE49-F238E27FC236}">
                  <a16:creationId xmlns:a16="http://schemas.microsoft.com/office/drawing/2014/main" xmlns="" id="{4C9D2D7D-12CB-4802-999B-1D1F87BE0FA5}"/>
                </a:ext>
              </a:extLst>
            </p:cNvPr>
            <p:cNvSpPr/>
            <p:nvPr/>
          </p:nvSpPr>
          <p:spPr>
            <a:xfrm>
              <a:off x="5966465" y="4751216"/>
              <a:ext cx="256032" cy="25603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xmlns="" id="{24158274-99B6-424C-9DB7-4B178174FCD6}"/>
              </a:ext>
            </a:extLst>
          </p:cNvPr>
          <p:cNvGrpSpPr/>
          <p:nvPr/>
        </p:nvGrpSpPr>
        <p:grpSpPr>
          <a:xfrm>
            <a:off x="6300394" y="3580940"/>
            <a:ext cx="192024" cy="1426311"/>
            <a:chOff x="8400525" y="3580937"/>
            <a:chExt cx="256032" cy="1426311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8E62A3E4-AE49-44CE-8671-D9E2E7A149F4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865601" y="4243877"/>
              <a:ext cx="1325880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Oval 67">
              <a:extLst>
                <a:ext uri="{FF2B5EF4-FFF2-40B4-BE49-F238E27FC236}">
                  <a16:creationId xmlns:a16="http://schemas.microsoft.com/office/drawing/2014/main" xmlns="" id="{D1DACA3F-BDD7-46A1-9FFC-5C9E3DC0319B}"/>
                </a:ext>
              </a:extLst>
            </p:cNvPr>
            <p:cNvSpPr/>
            <p:nvPr/>
          </p:nvSpPr>
          <p:spPr>
            <a:xfrm>
              <a:off x="8400525" y="4751216"/>
              <a:ext cx="256032" cy="25603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xmlns="" id="{CDBF36D1-D00D-4D0E-A137-B0C1518AA950}"/>
              </a:ext>
            </a:extLst>
          </p:cNvPr>
          <p:cNvGrpSpPr/>
          <p:nvPr/>
        </p:nvGrpSpPr>
        <p:grpSpPr>
          <a:xfrm>
            <a:off x="8125939" y="3580940"/>
            <a:ext cx="192024" cy="1431463"/>
            <a:chOff x="10834585" y="3580937"/>
            <a:chExt cx="256032" cy="1431463"/>
          </a:xfrm>
        </p:grpSpPr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FA69A115-43BB-4F45-8737-8989918E4F3D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0299661" y="4243877"/>
              <a:ext cx="1325880" cy="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Oval 70">
              <a:extLst>
                <a:ext uri="{FF2B5EF4-FFF2-40B4-BE49-F238E27FC236}">
                  <a16:creationId xmlns:a16="http://schemas.microsoft.com/office/drawing/2014/main" xmlns="" id="{F08C80E3-AE2D-440D-A9D5-30C4A542F095}"/>
                </a:ext>
              </a:extLst>
            </p:cNvPr>
            <p:cNvSpPr/>
            <p:nvPr/>
          </p:nvSpPr>
          <p:spPr>
            <a:xfrm>
              <a:off x="10834585" y="4756368"/>
              <a:ext cx="256032" cy="25603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noProof="0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3FA2CB5-635E-4CF6-B11D-F2C5041ADB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509767"/>
            <a:ext cx="6858000" cy="685801"/>
          </a:xfrm>
        </p:spPr>
        <p:txBody>
          <a:bodyPr anchor="t" anchorCtr="0">
            <a:normAutofit/>
          </a:bodyPr>
          <a:lstStyle>
            <a:lvl1pPr algn="ctr">
              <a:defRPr sz="2475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69C4E9CB-8B65-4E12-967D-06EAE4393B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1240970"/>
            <a:ext cx="6858000" cy="492294"/>
          </a:xfrm>
        </p:spPr>
        <p:txBody>
          <a:bodyPr>
            <a:normAutofit/>
          </a:bodyPr>
          <a:lstStyle>
            <a:lvl1pPr marL="0" indent="0" algn="ctr">
              <a:buNone/>
              <a:defRPr sz="1575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B3FA692-96F4-4A7F-8487-22F20A708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792D85A-DF1E-4EFB-B064-60EF7F601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AE20109-909E-4186-BEE5-888E05F28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75B66-BB0A-40EC-93F2-D831CFF2799C}" type="slidenum">
              <a:rPr lang="en-US" noProof="0" smtClean="0"/>
              <a:t>‹#›</a:t>
            </a:fld>
            <a:endParaRPr lang="en-US" noProof="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xmlns="" id="{42249841-1B5B-4DCB-8182-96027C01CEF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2185" y="633829"/>
            <a:ext cx="720090" cy="68580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788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005C338-76FB-4C4F-9EB1-183CFD6B90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2185" y="1953305"/>
            <a:ext cx="1241298" cy="1627632"/>
          </a:xfrm>
          <a:solidFill>
            <a:schemeClr val="accent2"/>
          </a:solidFill>
        </p:spPr>
        <p:txBody>
          <a:bodyPr lIns="180000" anchor="ctr" anchorCtr="0">
            <a:noAutofit/>
          </a:bodyPr>
          <a:lstStyle>
            <a:lvl1pPr marL="81000" marR="0" indent="-81000" algn="l" defTabSz="51435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49C02438-F5BE-4F73-A18D-18ABFEC5C4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3742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0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xmlns="" id="{6E96343E-2D2B-4C87-A7F9-DCCCCB97AF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22871" y="1953305"/>
            <a:ext cx="1666494" cy="1627632"/>
          </a:xfrm>
          <a:solidFill>
            <a:schemeClr val="accent2"/>
          </a:solidFill>
        </p:spPr>
        <p:txBody>
          <a:bodyPr lIns="180000" anchor="ctr" anchorCtr="0">
            <a:noAutofit/>
          </a:bodyPr>
          <a:lstStyle>
            <a:lvl1pPr marL="81000" marR="0" indent="-81000" algn="l" defTabSz="51435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xmlns="" id="{7BB84FDB-D513-4AC9-B712-08F2B06C13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38754" y="1953305"/>
            <a:ext cx="1666494" cy="1627632"/>
          </a:xfrm>
          <a:solidFill>
            <a:schemeClr val="accent2"/>
          </a:solidFill>
        </p:spPr>
        <p:txBody>
          <a:bodyPr lIns="180000" anchor="ctr" anchorCtr="0">
            <a:noAutofit/>
          </a:bodyPr>
          <a:lstStyle>
            <a:lvl1pPr marL="81000" marR="0" indent="-81000" algn="l" defTabSz="51435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xmlns="" id="{FEA35609-E644-4DF0-8982-873C461851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54636" y="1953305"/>
            <a:ext cx="1666494" cy="1627632"/>
          </a:xfrm>
          <a:solidFill>
            <a:schemeClr val="accent2"/>
          </a:solidFill>
        </p:spPr>
        <p:txBody>
          <a:bodyPr lIns="180000" anchor="ctr" anchorCtr="0">
            <a:noAutofit/>
          </a:bodyPr>
          <a:lstStyle>
            <a:lvl1pPr marL="81000" marR="0" indent="-81000" algn="l" defTabSz="51435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xmlns="" id="{56BC7BD0-6D40-4DA2-9119-3D744AC988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70518" y="1953305"/>
            <a:ext cx="1241298" cy="1627632"/>
          </a:xfrm>
          <a:solidFill>
            <a:schemeClr val="accent2"/>
          </a:solidFill>
        </p:spPr>
        <p:txBody>
          <a:bodyPr lIns="144000" anchor="ctr" anchorCtr="0">
            <a:noAutofit/>
          </a:bodyPr>
          <a:lstStyle>
            <a:lvl1pPr marL="81000" marR="0" indent="-81000" algn="l" defTabSz="51435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xmlns="" id="{804D7697-ED6C-474A-BC1C-AC319C4D11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07292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12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xmlns="" id="{F096A408-4C73-43FA-9BB3-9715B82B3D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12371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xmlns="" id="{C5B11A21-C8C4-419F-851D-CD63CACCAE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21000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xmlns="" id="{C61FE761-D585-4D37-9741-3F2923A03B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98659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11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xmlns="" id="{AEF88759-07E7-421C-98C4-6C5962899D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81401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9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xmlns="" id="{46CC2679-5DDB-45BD-AFC4-C0E40C90A9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64144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7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xmlns="" id="{02ABD78C-73AA-439C-A5BE-17644A9628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55515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6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xmlns="" id="{272124E2-B2DD-45A6-ABE6-459C7038FBB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46886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5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xmlns="" id="{37660DC0-4623-45A5-84FE-A8AB30FB91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38257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xmlns="" id="{1324C94E-2600-4373-9B3A-E70E6F6E3EA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529629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xmlns="" id="{C1ED5B50-C717-4ECD-9434-0C486B1FA95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72772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08</a:t>
            </a: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xmlns="" id="{E91BD8A6-461F-4EAC-82F8-A744495D6BF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90030" y="3863547"/>
            <a:ext cx="432054" cy="576072"/>
          </a:xfrm>
          <a:solidFill>
            <a:schemeClr val="accent1"/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2pPr>
            <a:lvl3pPr marL="51435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3pPr>
            <a:lvl4pPr marL="771525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4pPr>
            <a:lvl5pPr marL="102870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noProof="0"/>
              <a:t>10</a:t>
            </a:r>
          </a:p>
        </p:txBody>
      </p:sp>
      <p:sp>
        <p:nvSpPr>
          <p:cNvPr id="83" name="Text Placeholder 82">
            <a:extLst>
              <a:ext uri="{FF2B5EF4-FFF2-40B4-BE49-F238E27FC236}">
                <a16:creationId xmlns:a16="http://schemas.microsoft.com/office/drawing/2014/main" xmlns="" id="{3070E194-AAC8-4E23-9F2B-5946DF5D217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2643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Dec</a:t>
            </a:r>
          </a:p>
        </p:txBody>
      </p:sp>
      <p:sp>
        <p:nvSpPr>
          <p:cNvPr id="84" name="Text Placeholder 82">
            <a:extLst>
              <a:ext uri="{FF2B5EF4-FFF2-40B4-BE49-F238E27FC236}">
                <a16:creationId xmlns:a16="http://schemas.microsoft.com/office/drawing/2014/main" xmlns="" id="{53A9E9CF-C53C-41F0-8DEE-872DBB4377F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72516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Dec</a:t>
            </a:r>
          </a:p>
        </p:txBody>
      </p:sp>
      <p:sp>
        <p:nvSpPr>
          <p:cNvPr id="85" name="Text Placeholder 82">
            <a:extLst>
              <a:ext uri="{FF2B5EF4-FFF2-40B4-BE49-F238E27FC236}">
                <a16:creationId xmlns:a16="http://schemas.microsoft.com/office/drawing/2014/main" xmlns="" id="{72AE6501-3FB0-4A7D-9A36-B350AEC3CAE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80965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Jan</a:t>
            </a:r>
          </a:p>
        </p:txBody>
      </p:sp>
      <p:sp>
        <p:nvSpPr>
          <p:cNvPr id="86" name="Text Placeholder 82">
            <a:extLst>
              <a:ext uri="{FF2B5EF4-FFF2-40B4-BE49-F238E27FC236}">
                <a16:creationId xmlns:a16="http://schemas.microsoft.com/office/drawing/2014/main" xmlns="" id="{CB3FC7F1-097D-46A1-B741-A527899C486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889289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Feb</a:t>
            </a:r>
          </a:p>
        </p:txBody>
      </p:sp>
      <p:sp>
        <p:nvSpPr>
          <p:cNvPr id="87" name="Text Placeholder 82">
            <a:extLst>
              <a:ext uri="{FF2B5EF4-FFF2-40B4-BE49-F238E27FC236}">
                <a16:creationId xmlns:a16="http://schemas.microsoft.com/office/drawing/2014/main" xmlns="" id="{FC859E34-D208-4716-9A67-734A704575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497612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Mar</a:t>
            </a:r>
          </a:p>
        </p:txBody>
      </p:sp>
      <p:sp>
        <p:nvSpPr>
          <p:cNvPr id="88" name="Text Placeholder 82">
            <a:extLst>
              <a:ext uri="{FF2B5EF4-FFF2-40B4-BE49-F238E27FC236}">
                <a16:creationId xmlns:a16="http://schemas.microsoft.com/office/drawing/2014/main" xmlns="" id="{049E8B34-6A64-4BBD-A35C-22A6CA41E35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05934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Apr</a:t>
            </a:r>
          </a:p>
        </p:txBody>
      </p:sp>
      <p:sp>
        <p:nvSpPr>
          <p:cNvPr id="89" name="Text Placeholder 82">
            <a:extLst>
              <a:ext uri="{FF2B5EF4-FFF2-40B4-BE49-F238E27FC236}">
                <a16:creationId xmlns:a16="http://schemas.microsoft.com/office/drawing/2014/main" xmlns="" id="{97904633-5897-42A4-AF0F-2EA51A800CF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714256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May</a:t>
            </a:r>
          </a:p>
        </p:txBody>
      </p:sp>
      <p:sp>
        <p:nvSpPr>
          <p:cNvPr id="90" name="Text Placeholder 82">
            <a:extLst>
              <a:ext uri="{FF2B5EF4-FFF2-40B4-BE49-F238E27FC236}">
                <a16:creationId xmlns:a16="http://schemas.microsoft.com/office/drawing/2014/main" xmlns="" id="{79DD194B-FCD9-41BA-9509-A8B90C84FE9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22580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Jun</a:t>
            </a:r>
          </a:p>
        </p:txBody>
      </p:sp>
      <p:sp>
        <p:nvSpPr>
          <p:cNvPr id="91" name="Text Placeholder 82">
            <a:extLst>
              <a:ext uri="{FF2B5EF4-FFF2-40B4-BE49-F238E27FC236}">
                <a16:creationId xmlns:a16="http://schemas.microsoft.com/office/drawing/2014/main" xmlns="" id="{DB6D9DFF-FF4C-4CE7-8978-80DBC6D9C1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30903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Jul</a:t>
            </a:r>
          </a:p>
        </p:txBody>
      </p:sp>
      <p:sp>
        <p:nvSpPr>
          <p:cNvPr id="92" name="Text Placeholder 82">
            <a:extLst>
              <a:ext uri="{FF2B5EF4-FFF2-40B4-BE49-F238E27FC236}">
                <a16:creationId xmlns:a16="http://schemas.microsoft.com/office/drawing/2014/main" xmlns="" id="{1AF51762-8702-4718-B74C-51EF4D49849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539225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Aug</a:t>
            </a:r>
          </a:p>
        </p:txBody>
      </p:sp>
      <p:sp>
        <p:nvSpPr>
          <p:cNvPr id="93" name="Text Placeholder 82">
            <a:extLst>
              <a:ext uri="{FF2B5EF4-FFF2-40B4-BE49-F238E27FC236}">
                <a16:creationId xmlns:a16="http://schemas.microsoft.com/office/drawing/2014/main" xmlns="" id="{B94382F6-3287-40E9-A2C6-E28B5F7F05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47547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Sep</a:t>
            </a:r>
          </a:p>
        </p:txBody>
      </p:sp>
      <p:sp>
        <p:nvSpPr>
          <p:cNvPr id="94" name="Text Placeholder 82">
            <a:extLst>
              <a:ext uri="{FF2B5EF4-FFF2-40B4-BE49-F238E27FC236}">
                <a16:creationId xmlns:a16="http://schemas.microsoft.com/office/drawing/2014/main" xmlns="" id="{138544EE-C7F5-4BEA-B814-148F88843B8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755871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Oct</a:t>
            </a:r>
          </a:p>
        </p:txBody>
      </p:sp>
      <p:sp>
        <p:nvSpPr>
          <p:cNvPr id="95" name="Text Placeholder 82">
            <a:extLst>
              <a:ext uri="{FF2B5EF4-FFF2-40B4-BE49-F238E27FC236}">
                <a16:creationId xmlns:a16="http://schemas.microsoft.com/office/drawing/2014/main" xmlns="" id="{D4154B6A-8576-4E34-B9F7-848562D0FAC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64194" y="5016378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788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Nov</a:t>
            </a:r>
          </a:p>
        </p:txBody>
      </p:sp>
      <p:sp>
        <p:nvSpPr>
          <p:cNvPr id="96" name="Text Placeholder 82">
            <a:extLst>
              <a:ext uri="{FF2B5EF4-FFF2-40B4-BE49-F238E27FC236}">
                <a16:creationId xmlns:a16="http://schemas.microsoft.com/office/drawing/2014/main" xmlns="" id="{50E931AF-D6F2-4AD6-AAD8-8472B863580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72643" y="5311873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Start</a:t>
            </a:r>
          </a:p>
        </p:txBody>
      </p:sp>
      <p:sp>
        <p:nvSpPr>
          <p:cNvPr id="97" name="Text Placeholder 82">
            <a:extLst>
              <a:ext uri="{FF2B5EF4-FFF2-40B4-BE49-F238E27FC236}">
                <a16:creationId xmlns:a16="http://schemas.microsoft.com/office/drawing/2014/main" xmlns="" id="{AAEA2E2F-AB4C-462B-B9B9-07B4AA406A4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972516" y="5311873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Q4</a:t>
            </a:r>
          </a:p>
        </p:txBody>
      </p:sp>
      <p:sp>
        <p:nvSpPr>
          <p:cNvPr id="98" name="Text Placeholder 82">
            <a:extLst>
              <a:ext uri="{FF2B5EF4-FFF2-40B4-BE49-F238E27FC236}">
                <a16:creationId xmlns:a16="http://schemas.microsoft.com/office/drawing/2014/main" xmlns="" id="{791F5FE7-9124-491C-AD14-8CD8442EEDB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497612" y="5311873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Q1</a:t>
            </a:r>
          </a:p>
        </p:txBody>
      </p:sp>
      <p:sp>
        <p:nvSpPr>
          <p:cNvPr id="99" name="Text Placeholder 82">
            <a:extLst>
              <a:ext uri="{FF2B5EF4-FFF2-40B4-BE49-F238E27FC236}">
                <a16:creationId xmlns:a16="http://schemas.microsoft.com/office/drawing/2014/main" xmlns="" id="{AF9DDE50-FB12-4681-9F64-FAEEEE89326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322580" y="5311873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Q2</a:t>
            </a:r>
          </a:p>
        </p:txBody>
      </p:sp>
      <p:sp>
        <p:nvSpPr>
          <p:cNvPr id="100" name="Text Placeholder 82">
            <a:extLst>
              <a:ext uri="{FF2B5EF4-FFF2-40B4-BE49-F238E27FC236}">
                <a16:creationId xmlns:a16="http://schemas.microsoft.com/office/drawing/2014/main" xmlns="" id="{817AE0D5-8EF1-44A0-8F15-FBFA1111DCA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47547" y="5311873"/>
            <a:ext cx="498872" cy="268288"/>
          </a:xfrm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1013">
                <a:solidFill>
                  <a:schemeClr val="tx1"/>
                </a:solidFill>
                <a:latin typeface="+mj-lt"/>
              </a:defRPr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Q3</a:t>
            </a:r>
          </a:p>
        </p:txBody>
      </p:sp>
      <p:sp>
        <p:nvSpPr>
          <p:cNvPr id="101" name="Text Placeholder 82">
            <a:extLst>
              <a:ext uri="{FF2B5EF4-FFF2-40B4-BE49-F238E27FC236}">
                <a16:creationId xmlns:a16="http://schemas.microsoft.com/office/drawing/2014/main" xmlns="" id="{6664E19C-3384-49DD-BD5F-2E39375D444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05096" y="473961"/>
            <a:ext cx="719142" cy="551102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buNone/>
              <a:defRPr sz="1575">
                <a:solidFill>
                  <a:schemeClr val="tx1"/>
                </a:solidFill>
                <a:latin typeface="+mn-lt"/>
              </a:defRPr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</a:lstStyle>
          <a:p>
            <a:pPr lvl="0"/>
            <a:r>
              <a:rPr lang="en-US" noProof="0"/>
              <a:t>20XX</a:t>
            </a:r>
          </a:p>
        </p:txBody>
      </p:sp>
    </p:spTree>
    <p:extLst>
      <p:ext uri="{BB962C8B-B14F-4D97-AF65-F5344CB8AC3E}">
        <p14:creationId xmlns:p14="http://schemas.microsoft.com/office/powerpoint/2010/main" val="163562852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7" y="4803732"/>
            <a:ext cx="5976011" cy="450535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900" smtClean="0">
                <a:solidFill>
                  <a:prstClr val="white"/>
                </a:solidFill>
              </a:rPr>
              <a:pPr/>
              <a:t>‹#›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5376956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5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62001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84469-3284-49E6-AA32-CC1F05C8C10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96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56182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233" y="350940"/>
            <a:ext cx="8547267" cy="935250"/>
          </a:xfrm>
          <a:prstGeom prst="rect">
            <a:avLst/>
          </a:prstGeom>
        </p:spPr>
        <p:txBody>
          <a:bodyPr anchor="b"/>
          <a:lstStyle>
            <a:lvl1pPr algn="l"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85751" y="1366581"/>
            <a:ext cx="8546306" cy="3938849"/>
          </a:xfrm>
          <a:prstGeom prst="rect">
            <a:avLst/>
          </a:prstGeom>
        </p:spPr>
        <p:txBody>
          <a:bodyPr/>
          <a:lstStyle>
            <a:lvl1pPr marL="96441" indent="-96441">
              <a:buFont typeface="Wingdings" charset="2"/>
              <a:buChar char="§"/>
              <a:defRPr sz="1055">
                <a:solidFill>
                  <a:schemeClr val="accent6">
                    <a:lumMod val="50000"/>
                  </a:schemeClr>
                </a:solidFill>
              </a:defRPr>
            </a:lvl1pPr>
            <a:lvl2pPr marL="289322" indent="-96441">
              <a:buFont typeface="Wingdings" charset="2"/>
              <a:buChar char="§"/>
              <a:defRPr sz="844">
                <a:solidFill>
                  <a:schemeClr val="tx1"/>
                </a:solidFill>
              </a:defRPr>
            </a:lvl2pPr>
            <a:lvl3pPr marL="482204" indent="-96441">
              <a:buFont typeface="Wingdings" charset="2"/>
              <a:buChar char="§"/>
              <a:defRPr sz="760">
                <a:solidFill>
                  <a:schemeClr val="tx1"/>
                </a:solidFill>
              </a:defRPr>
            </a:lvl3pPr>
            <a:lvl4pPr marL="675085" indent="-96441">
              <a:buFont typeface="Wingdings" charset="2"/>
              <a:buChar char="§"/>
              <a:defRPr sz="760">
                <a:solidFill>
                  <a:schemeClr val="tx1"/>
                </a:solidFill>
              </a:defRPr>
            </a:lvl4pPr>
            <a:lvl5pPr marL="867966" indent="-96441">
              <a:buFont typeface="Wingdings" charset="2"/>
              <a:buChar char="§"/>
              <a:defRPr sz="76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75169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84469-3284-49E6-AA32-CC1F05C8C1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854270"/>
      </p:ext>
    </p:extLst>
  </p:cSld>
  <p:clrMapOvr>
    <a:masterClrMapping/>
  </p:clrMapOvr>
  <p:transition spd="slow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itle 64"/>
          <p:cNvSpPr>
            <a:spLocks noGrp="1"/>
          </p:cNvSpPr>
          <p:nvPr>
            <p:ph type="title"/>
          </p:nvPr>
        </p:nvSpPr>
        <p:spPr>
          <a:xfrm>
            <a:off x="1343025" y="685802"/>
            <a:ext cx="6457950" cy="495487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4C8D571-71DD-4498-843F-FD770BAD09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43025" y="1839918"/>
            <a:ext cx="6457950" cy="38830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597152"/>
            <a:ext cx="9144000" cy="13411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8163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2016">
          <p15:clr>
            <a:srgbClr val="FBAE40"/>
          </p15:clr>
        </p15:guide>
        <p15:guide id="10" orient="horz" pos="768">
          <p15:clr>
            <a:srgbClr val="FBAE40"/>
          </p15:clr>
        </p15:guide>
        <p15:guide id="11" orient="horz" pos="1008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152"/>
            <a:ext cx="7772400" cy="19842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600" y="4191000"/>
            <a:ext cx="6400800" cy="17526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100" dirty="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31"/>
            <a:ext cx="21336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900" smtClean="0">
                <a:solidFill>
                  <a:prstClr val="white"/>
                </a:solidFill>
              </a:rPr>
              <a:pPr/>
              <a:t>‹#›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859971" y="457200"/>
            <a:ext cx="77724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2400" dirty="0"/>
              <a:t>VETERANS HEALTH ADMINISTRATION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raft - Pre-Decisional Deliberative Document </a:t>
            </a:r>
          </a:p>
          <a:p>
            <a:r>
              <a:rPr lang="it-IT"/>
              <a:t>Internal VA Use Only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97458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8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it-IT"/>
              <a:t>Draft - Pre-Decisional Deliberative Document </a:t>
            </a:r>
          </a:p>
          <a:p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419560000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it-IT"/>
              <a:t>Draft - Pre-Decisional Deliberative Document </a:t>
            </a:r>
          </a:p>
          <a:p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55646012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it-IT"/>
              <a:t>Draft - Pre-Decisional Deliberative Document </a:t>
            </a:r>
          </a:p>
          <a:p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879297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97188837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it-IT"/>
              <a:t>Draft - Pre-Decisional Deliberative Document </a:t>
            </a:r>
          </a:p>
          <a:p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5721611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2390"/>
            <a:ext cx="5078413" cy="129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88" y="338140"/>
            <a:ext cx="2413000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Georgia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</a:p>
        </p:txBody>
      </p:sp>
      <p:sp>
        <p:nvSpPr>
          <p:cNvPr id="7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OCUMENT TYPE/STATUS</a:t>
            </a:r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1C64FC8-E11D-45F4-8A4B-60C7D313E57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214790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198438"/>
            <a:ext cx="7696200" cy="487362"/>
          </a:xfrm>
          <a:prstGeom prst="rect">
            <a:avLst/>
          </a:prstGeom>
        </p:spPr>
        <p:txBody>
          <a:bodyPr vert="horz"/>
          <a:lstStyle>
            <a:lvl1pPr algn="l">
              <a:defRPr sz="1650" cap="all" baseline="0">
                <a:solidFill>
                  <a:schemeClr val="bg1"/>
                </a:solidFill>
                <a:latin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rgbClr val="174782"/>
                </a:solidFill>
                <a:latin typeface="Georgia"/>
              </a:defRPr>
            </a:lvl1pPr>
            <a:lvl2pPr>
              <a:defRPr sz="1350">
                <a:latin typeface="Georgia"/>
              </a:defRPr>
            </a:lvl2pPr>
            <a:lvl3pPr>
              <a:defRPr sz="1200">
                <a:latin typeface="Georgia"/>
              </a:defRPr>
            </a:lvl3pPr>
            <a:lvl4pPr>
              <a:defRPr sz="1050">
                <a:latin typeface="Georgia"/>
              </a:defRPr>
            </a:lvl4pPr>
            <a:lvl5pPr>
              <a:defRPr sz="1050">
                <a:latin typeface="Georgi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OCUMENT TYPE/STATUS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52DD74-534C-420F-9467-1B5B5438058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193730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2757" y="0"/>
            <a:ext cx="7524043" cy="835378"/>
          </a:xfrm>
          <a:prstGeom prst="rect">
            <a:avLst/>
          </a:prstGeom>
        </p:spPr>
        <p:txBody>
          <a:bodyPr anchor="ctr"/>
          <a:lstStyle>
            <a:lvl1pPr algn="l">
              <a:defRPr sz="2400" b="0" i="0">
                <a:solidFill>
                  <a:schemeClr val="bg1"/>
                </a:solidFill>
                <a:latin typeface="Aria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3705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1500" b="0" i="0">
                <a:latin typeface="Arial Regular" charset="0"/>
              </a:defRPr>
            </a:lvl1pPr>
            <a:lvl2pPr>
              <a:defRPr sz="1350" b="0" i="0">
                <a:latin typeface="Arial Regular" charset="0"/>
              </a:defRPr>
            </a:lvl2pPr>
            <a:lvl3pPr>
              <a:defRPr sz="1200" b="0" i="0">
                <a:latin typeface="Arial Regular" charset="0"/>
              </a:defRPr>
            </a:lvl3pPr>
            <a:lvl4pPr>
              <a:defRPr sz="1050" b="0" i="0">
                <a:latin typeface="Arial Regular" charset="0"/>
              </a:defRPr>
            </a:lvl4pPr>
            <a:lvl5pPr>
              <a:defRPr sz="1050" b="0" i="0">
                <a:latin typeface="Arial Regular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OCUMENT TYPE/STATUS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087DC71-7BD8-42A9-B414-820F93828B6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7088763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ATE</a:t>
            </a:r>
          </a:p>
        </p:txBody>
      </p:sp>
      <p:sp>
        <p:nvSpPr>
          <p:cNvPr id="3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OCUMENT TYPE/STATUS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66342F-756A-4725-AA6E-82AFB304246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658162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6039"/>
            <a:ext cx="8229600" cy="71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466045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233" y="350940"/>
            <a:ext cx="8547267" cy="935250"/>
          </a:xfrm>
          <a:prstGeom prst="rect">
            <a:avLst/>
          </a:prstGeom>
        </p:spPr>
        <p:txBody>
          <a:bodyPr anchor="b"/>
          <a:lstStyle>
            <a:lvl1pPr algn="l"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85751" y="1366577"/>
            <a:ext cx="8546306" cy="3938849"/>
          </a:xfrm>
          <a:prstGeom prst="rect">
            <a:avLst/>
          </a:prstGeom>
        </p:spPr>
        <p:txBody>
          <a:bodyPr/>
          <a:lstStyle>
            <a:lvl1pPr marL="171450" indent="-171450">
              <a:buFont typeface="Wingdings" charset="2"/>
              <a:buChar char="§"/>
              <a:defRPr sz="1875">
                <a:solidFill>
                  <a:schemeClr val="accent6">
                    <a:lumMod val="50000"/>
                  </a:schemeClr>
                </a:solidFill>
              </a:defRPr>
            </a:lvl1pPr>
            <a:lvl2pPr marL="514350" indent="-171450">
              <a:buFont typeface="Wingdings" charset="2"/>
              <a:buChar char="§"/>
              <a:defRPr sz="1500">
                <a:solidFill>
                  <a:schemeClr val="tx1"/>
                </a:solidFill>
              </a:defRPr>
            </a:lvl2pPr>
            <a:lvl3pPr marL="857250" indent="-171450">
              <a:buFont typeface="Wingdings" charset="2"/>
              <a:buChar char="§"/>
              <a:defRPr sz="1350">
                <a:solidFill>
                  <a:schemeClr val="tx1"/>
                </a:solidFill>
              </a:defRPr>
            </a:lvl3pPr>
            <a:lvl4pPr marL="1200150" indent="-171450">
              <a:buFont typeface="Wingdings" charset="2"/>
              <a:buChar char="§"/>
              <a:defRPr sz="1350">
                <a:solidFill>
                  <a:schemeClr val="tx1"/>
                </a:solidFill>
              </a:defRPr>
            </a:lvl4pPr>
            <a:lvl5pPr marL="1543050" indent="-171450">
              <a:buFont typeface="Wingdings" charset="2"/>
              <a:buChar char="§"/>
              <a:defRPr sz="13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403807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Phrase o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79083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92179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7" y="4803732"/>
            <a:ext cx="5976011" cy="450535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900" smtClean="0">
                <a:solidFill>
                  <a:prstClr val="white"/>
                </a:solidFill>
              </a:rPr>
              <a:pPr/>
              <a:t>‹#›</a:t>
            </a:fld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6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5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59982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224542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96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01646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6453498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0874109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5" y="6351680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17669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742EC64A-3E7A-40AE-A355-3BEFD75C5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448" y="73152"/>
            <a:ext cx="8915400" cy="758952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bg1"/>
                </a:solidFill>
                <a:latin typeface="Calibri (Headings)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530159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726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7875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3429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1102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169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1770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4575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0905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7589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2934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5299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>
            <a:alpha val="72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3BDD1894-9E8D-4123-885B-35E7D4D57130}"/>
              </a:ext>
            </a:extLst>
          </p:cNvPr>
          <p:cNvSpPr/>
          <p:nvPr userDrawn="1"/>
        </p:nvSpPr>
        <p:spPr>
          <a:xfrm>
            <a:off x="-8264" y="0"/>
            <a:ext cx="9152264" cy="612933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9C68B9F4-7A9A-4816-99AB-27C9C187419A}"/>
              </a:ext>
            </a:extLst>
          </p:cNvPr>
          <p:cNvSpPr/>
          <p:nvPr userDrawn="1"/>
        </p:nvSpPr>
        <p:spPr>
          <a:xfrm>
            <a:off x="-8264" y="-17086"/>
            <a:ext cx="9152263" cy="914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457200"/>
            <a:ext cx="7772400" cy="935059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1752600"/>
            <a:ext cx="7772400" cy="1044575"/>
          </a:xfrm>
        </p:spPr>
        <p:txBody>
          <a:bodyPr>
            <a:normAutofit/>
          </a:bodyPr>
          <a:lstStyle>
            <a:lvl1pPr marL="0" indent="0" algn="ctr">
              <a:buNone/>
              <a:defRPr sz="4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0151DE4-3045-478B-A639-79140677D674}"/>
              </a:ext>
            </a:extLst>
          </p:cNvPr>
          <p:cNvSpPr txBox="1"/>
          <p:nvPr userDrawn="1"/>
        </p:nvSpPr>
        <p:spPr>
          <a:xfrm>
            <a:off x="228600" y="4319998"/>
            <a:ext cx="2819400" cy="48065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lvl="0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381D56C-ED95-41A9-901D-AB18843BA469}"/>
              </a:ext>
            </a:extLst>
          </p:cNvPr>
          <p:cNvSpPr txBox="1"/>
          <p:nvPr userDrawn="1"/>
        </p:nvSpPr>
        <p:spPr>
          <a:xfrm>
            <a:off x="224010" y="4812804"/>
            <a:ext cx="2407515" cy="48065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97524F97-9C33-41BE-A6F6-A2402B1E51CB}"/>
              </a:ext>
            </a:extLst>
          </p:cNvPr>
          <p:cNvSpPr txBox="1"/>
          <p:nvPr userDrawn="1"/>
        </p:nvSpPr>
        <p:spPr>
          <a:xfrm>
            <a:off x="228600" y="5310545"/>
            <a:ext cx="2785431" cy="48065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xmlns="" id="{F32E289A-0B24-46FD-9A76-703A44237A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14031" y="4319999"/>
            <a:ext cx="6023431" cy="45148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xmlns="" id="{A5385847-86BC-411C-BD06-FFB3EDE073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4600" y="4812804"/>
            <a:ext cx="6522862" cy="456632"/>
          </a:xfrm>
        </p:spPr>
        <p:txBody>
          <a:bodyPr>
            <a:no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xmlns="" id="{E9328F0D-E304-41F7-B95E-92D603C8CDD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854287" y="5310757"/>
            <a:ext cx="6217144" cy="632843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4798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04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334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524625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1435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89364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98579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46078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10458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54573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8137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7A4E5FD8-B71B-452A-936A-2690B8F6F1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054225"/>
            <a:ext cx="7772400" cy="1470025"/>
          </a:xfrm>
        </p:spPr>
        <p:txBody>
          <a:bodyPr/>
          <a:lstStyle>
            <a:lvl1pPr algn="ctr">
              <a:defRPr sz="3600">
                <a:solidFill>
                  <a:schemeClr val="tx1"/>
                </a:solidFill>
                <a:latin typeface="Calibri Light (Headings)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4A9B360C-1FE9-491C-AC66-FA34A808A4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71600" y="38100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EE68706C-4B4D-4E31-BF75-1E7F4D4F91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0098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xmlns="" id="{0997CD0D-9D24-4E17-9281-0BBAEBEB0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60960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8FA0B8C5-B07C-46B2-A194-575A20C3A2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1763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xmlns="" id="{D4308AFC-87C4-4334-9E08-7DEAE8E42B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41763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FC86AF11-9946-4525-8A0C-602E2088A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288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8B8B90B0-575F-47AD-B46D-111D89FE7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70719"/>
            <a:ext cx="8229600" cy="82311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A9805BF6-A82B-48DB-BA27-A65866F7AB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493838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B958CFB5-9C9E-4603-BCE3-4E08E1683E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" y="2144712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A2173B90-24B7-4B96-B283-20472BB320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45025" y="1493838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xmlns="" id="{F1D4FD36-5480-4B06-8B6D-A45481E7D6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5025" y="2144712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xmlns="" id="{FB6AC470-2631-45C2-B09D-E2D46B3F81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1684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E479162-5006-4C7D-8ED6-F17E1655A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6F3AFBD6-2E31-4C93-AE26-01C515DB1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7824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530975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2016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CAE26A74-C4E1-4EDB-B760-273420CBB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5087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xmlns="" id="{28EC784B-6DFD-4590-9012-42C4CEF67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6200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46D8870B-6B4E-4085-8958-BDADF1DFC4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5050" y="762001"/>
            <a:ext cx="5111750" cy="5213350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7BFDD5AC-BF31-48C9-A7B0-D63A76D9A5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924050"/>
            <a:ext cx="3008313" cy="405130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86966218-1EE7-4C20-870A-99D457537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2459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3569E5AF-F234-470C-9DE8-4280D66A2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xmlns="" id="{8676F200-A676-4F3E-9345-E4C854A687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792288" y="685800"/>
            <a:ext cx="5486400" cy="404177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D8CC0A70-9D39-4CEC-B24F-2378B24F91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7286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xmlns="" id="{DF703FA3-31B8-4523-AA99-0068D8107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8496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27C00A-59B4-49D0-B7AC-1D016A02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21771"/>
            <a:ext cx="8610600" cy="67709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6F48B1-7BC3-4A7B-9F48-793D8612DD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838202"/>
            <a:ext cx="8610600" cy="50291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65A9B036-5FE2-4A79-9C97-083A096376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2500" y="5762512"/>
            <a:ext cx="37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1343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E479162-5006-4C7D-8ED6-F17E1655A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0" y="3886200"/>
            <a:ext cx="8229600" cy="731838"/>
          </a:xfrm>
        </p:spPr>
        <p:txBody>
          <a:bodyPr/>
          <a:lstStyle>
            <a:lvl1pPr algn="l"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6F3AFBD6-2E31-4C93-AE26-01C515DB1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7056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27C00A-59B4-49D0-B7AC-1D016A02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21771"/>
            <a:ext cx="8610600" cy="67709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1474E5A9-EBBC-4E94-A4AC-CB6DE78F0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5237"/>
            <a:ext cx="8229600" cy="4525963"/>
          </a:xfrm>
        </p:spPr>
        <p:txBody>
          <a:bodyPr/>
          <a:lstStyle>
            <a:lvl1pPr>
              <a:defRPr>
                <a:latin typeface="Calibri (Body)"/>
                <a:cs typeface="Calibri" panose="020F0502020204030204" pitchFamily="34" charset="0"/>
              </a:defRPr>
            </a:lvl1pPr>
            <a:lvl2pPr>
              <a:defRPr>
                <a:latin typeface="Calibri (Body)"/>
                <a:cs typeface="Calibri" panose="020F0502020204030204" pitchFamily="34" charset="0"/>
              </a:defRPr>
            </a:lvl2pPr>
            <a:lvl3pPr>
              <a:defRPr>
                <a:latin typeface="Calibri (Body)"/>
                <a:cs typeface="Calibri" panose="020F0502020204030204" pitchFamily="34" charset="0"/>
              </a:defRPr>
            </a:lvl3pPr>
            <a:lvl4pPr>
              <a:defRPr>
                <a:latin typeface="Calibri (Body)"/>
                <a:cs typeface="Calibri" panose="020F0502020204030204" pitchFamily="34" charset="0"/>
              </a:defRPr>
            </a:lvl4pPr>
            <a:lvl5pPr>
              <a:defRPr>
                <a:latin typeface="Calibri (Body)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E83D54E0-FB02-4090-A9CF-0CB4C9EE4F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09371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xmlns="" id="{75D17B43-F555-4971-9FAD-475D69F19AD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22313" y="4138613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Calibri (Heading)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58326922-220E-4EC3-89F8-782782BCB2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3" y="2590800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2F4E8164-C12D-4F26-8768-6FDEDAA62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3881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7A299E34-0D69-45A3-B452-9043EC092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xmlns="" id="{D19D2D2C-5BD1-411D-BB57-FB2A522E6D2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28600" y="838200"/>
            <a:ext cx="8610600" cy="50291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7C684A9-6552-4BE4-A4D4-6F71B91420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3179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/>
              <a:t>Agenda</a:t>
            </a:r>
            <a:endParaRPr lang="en-US" sz="3600" u="sng"/>
          </a:p>
        </p:txBody>
      </p:sp>
      <p:sp>
        <p:nvSpPr>
          <p:cNvPr id="6" name="TextBox 5"/>
          <p:cNvSpPr txBox="1"/>
          <p:nvPr userDrawn="1"/>
        </p:nvSpPr>
        <p:spPr>
          <a:xfrm>
            <a:off x="331373" y="1659466"/>
            <a:ext cx="8481253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defTabSz="914400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7693" y="2749897"/>
            <a:ext cx="7892223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defTabSz="9144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defTabSz="914400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2117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20B8E55-B9DB-4840-93D5-17A6AEA622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/>
              <a:t>Click to edit Slide Mas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1946987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1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530159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7095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81907D9-2698-4DD3-B08E-45A9807BDF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5671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304BA5F-7905-4062-975E-071EC675F8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/>
              <a:t>Click to edit Slide Mas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14425530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5869541E-D74D-49D9-AD8E-B0D36B958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/>
              <a:t>Click to edit Slide Mas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31126471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FE0B27D3-E25C-4B1B-9972-D793A083F0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2728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2200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480ABA3-F04C-474F-A0DC-5A00D1DA38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8400" y="4953000"/>
            <a:ext cx="54864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8090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4548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FA8D4493-252F-404E-968C-2AC16788CB7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582717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152"/>
            <a:ext cx="7772400" cy="19842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600" y="4191000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859971" y="457200"/>
            <a:ext cx="77724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3200" dirty="0"/>
              <a:t>VETERANS HEALTH ADMINISTRATION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024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8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551578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530159"/>
            <a:ext cx="2133600" cy="365125"/>
          </a:xfrm>
        </p:spPr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98809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81076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641333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3807029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152"/>
            <a:ext cx="7772400" cy="19842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600" y="4191000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859971" y="457200"/>
            <a:ext cx="77724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3200" dirty="0"/>
              <a:t>VETERANS HEALTH ADMINISTRATION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6008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8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836564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603129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230279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709069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152"/>
            <a:ext cx="7772400" cy="19842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3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</a:defRPr>
            </a:lvl1pPr>
          </a:lstStyle>
          <a:p>
            <a:pPr defTabSz="457189">
              <a:defRPr/>
            </a:pPr>
            <a:r>
              <a:rPr lang="en-US"/>
              <a:t>Pre-Decisional</a:t>
            </a:r>
          </a:p>
          <a:p>
            <a:pPr defTabSz="457189">
              <a:defRPr/>
            </a:pPr>
            <a:r>
              <a:rPr lang="en-US"/>
              <a:t>Internal VA Use Only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189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189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7466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152"/>
            <a:ext cx="7772400" cy="198424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8600" y="4191000"/>
            <a:ext cx="6400800" cy="1752600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859971" y="457200"/>
            <a:ext cx="77724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3200" dirty="0"/>
              <a:t>VETERANS HEALTH ADMINISTRATION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1615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530159"/>
            <a:ext cx="2133600" cy="365125"/>
          </a:xfrm>
        </p:spPr>
        <p:txBody>
          <a:bodyPr/>
          <a:lstStyle/>
          <a:p>
            <a:fld id="{122A4168-FDD5-490D-97CA-067BE328F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84845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8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755043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796628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842837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291955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A245C-E64B-4EEE-951F-0BB0DFA45A4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36795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7A4E5FD8-B71B-452A-936A-2690B8F6F1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054225"/>
            <a:ext cx="7772400" cy="1470025"/>
          </a:xfrm>
        </p:spPr>
        <p:txBody>
          <a:bodyPr/>
          <a:lstStyle>
            <a:lvl1pPr algn="ctr">
              <a:defRPr sz="3600">
                <a:solidFill>
                  <a:schemeClr val="tx1"/>
                </a:solidFill>
                <a:latin typeface="Calibri Light (Headings)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4A9B360C-1FE9-491C-AC66-FA34A808A4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71600" y="38100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EE68706C-4B4D-4E31-BF75-1E7F4D4F91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7537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xmlns="" id="{0997CD0D-9D24-4E17-9281-0BBAEBEB0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60960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8FA0B8C5-B07C-46B2-A194-575A20C3A2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1763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xmlns="" id="{D4308AFC-87C4-4334-9E08-7DEAE8E42B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41763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FC86AF11-9946-4525-8A0C-602E2088A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12693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8B8B90B0-575F-47AD-B46D-111D89FE7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70719"/>
            <a:ext cx="8229600" cy="82311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A9805BF6-A82B-48DB-BA27-A65866F7AB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493838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B958CFB5-9C9E-4603-BCE3-4E08E1683E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" y="2144712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A2173B90-24B7-4B96-B283-20472BB320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45025" y="1493838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xmlns="" id="{F1D4FD36-5480-4B06-8B6D-A45481E7D6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5025" y="2144712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xmlns="" id="{FB6AC470-2631-45C2-B09D-E2D46B3F81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74273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E479162-5006-4C7D-8ED6-F17E1655A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6F3AFBD6-2E31-4C93-AE26-01C515DB1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3120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CAE26A74-C4E1-4EDB-B760-273420CBB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0947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900" smtClean="0">
                <a:solidFill>
                  <a:prstClr val="white"/>
                </a:solidFill>
              </a:rPr>
              <a:pPr/>
              <a:t>‹#›</a:t>
            </a:fld>
            <a:endParaRPr lang="en-US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5800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xmlns="" id="{28EC784B-6DFD-4590-9012-42C4CEF67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6200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46D8870B-6B4E-4085-8958-BDADF1DFC4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5050" y="762001"/>
            <a:ext cx="5111750" cy="5213350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7BFDD5AC-BF31-48C9-A7B0-D63A76D9A5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924050"/>
            <a:ext cx="3008313" cy="405130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86966218-1EE7-4C20-870A-99D457537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6536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3569E5AF-F234-470C-9DE8-4280D66A2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xmlns="" id="{8676F200-A676-4F3E-9345-E4C854A687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792288" y="685800"/>
            <a:ext cx="5486400" cy="404177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D8CC0A70-9D39-4CEC-B24F-2378B24F91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7286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xmlns="" id="{DF703FA3-31B8-4523-AA99-0068D8107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78731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27C00A-59B4-49D0-B7AC-1D016A02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21771"/>
            <a:ext cx="8610600" cy="67709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6F48B1-7BC3-4A7B-9F48-793D8612DD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838202"/>
            <a:ext cx="8610600" cy="50291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65A9B036-5FE2-4A79-9C97-083A096376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2500" y="5762512"/>
            <a:ext cx="37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40650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E479162-5006-4C7D-8ED6-F17E1655A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0" y="3886200"/>
            <a:ext cx="8229600" cy="731838"/>
          </a:xfrm>
        </p:spPr>
        <p:txBody>
          <a:bodyPr/>
          <a:lstStyle>
            <a:lvl1pPr algn="l"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6F3AFBD6-2E31-4C93-AE26-01C515DB1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6133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27C00A-59B4-49D0-B7AC-1D016A02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21771"/>
            <a:ext cx="8610600" cy="67709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1474E5A9-EBBC-4E94-A4AC-CB6DE78F0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5237"/>
            <a:ext cx="8229600" cy="4525963"/>
          </a:xfrm>
        </p:spPr>
        <p:txBody>
          <a:bodyPr/>
          <a:lstStyle>
            <a:lvl1pPr>
              <a:defRPr>
                <a:latin typeface="Calibri (Body)"/>
                <a:cs typeface="Calibri" panose="020F0502020204030204" pitchFamily="34" charset="0"/>
              </a:defRPr>
            </a:lvl1pPr>
            <a:lvl2pPr>
              <a:defRPr>
                <a:latin typeface="Calibri (Body)"/>
                <a:cs typeface="Calibri" panose="020F0502020204030204" pitchFamily="34" charset="0"/>
              </a:defRPr>
            </a:lvl2pPr>
            <a:lvl3pPr>
              <a:defRPr>
                <a:latin typeface="Calibri (Body)"/>
                <a:cs typeface="Calibri" panose="020F0502020204030204" pitchFamily="34" charset="0"/>
              </a:defRPr>
            </a:lvl3pPr>
            <a:lvl4pPr>
              <a:defRPr>
                <a:latin typeface="Calibri (Body)"/>
                <a:cs typeface="Calibri" panose="020F0502020204030204" pitchFamily="34" charset="0"/>
              </a:defRPr>
            </a:lvl4pPr>
            <a:lvl5pPr>
              <a:defRPr>
                <a:latin typeface="Calibri (Body)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E83D54E0-FB02-4090-A9CF-0CB4C9EE4F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90366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xmlns="" id="{75D17B43-F555-4971-9FAD-475D69F19AD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22313" y="4138613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3600">
                <a:solidFill>
                  <a:schemeClr val="tx1"/>
                </a:solidFill>
                <a:latin typeface="Calibri (Heading)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58326922-220E-4EC3-89F8-782782BCB2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3" y="2590800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2F4E8164-C12D-4F26-8768-6FDEDAA62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68423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7A299E34-0D69-45A3-B452-9043EC092D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xmlns="" id="{D19D2D2C-5BD1-411D-BB57-FB2A522E6D2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28600" y="838200"/>
            <a:ext cx="8610600" cy="50291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7C684A9-6552-4BE4-A4D4-6F71B91420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3526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7A4E5FD8-B71B-452A-936A-2690B8F6F1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2054227"/>
            <a:ext cx="7772400" cy="1470025"/>
          </a:xfrm>
        </p:spPr>
        <p:txBody>
          <a:bodyPr/>
          <a:lstStyle>
            <a:lvl1pPr algn="ctr">
              <a:defRPr sz="2700">
                <a:solidFill>
                  <a:schemeClr val="tx1"/>
                </a:solidFill>
                <a:latin typeface="Calibri Light (Headings)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4A9B360C-1FE9-491C-AC66-FA34A808A4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71600" y="38100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EE68706C-4B4D-4E31-BF75-1E7F4D4F91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942214"/>
      </p:ext>
    </p:extLst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xmlns="" id="{0997CD0D-9D24-4E17-9281-0BBAEBEB0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60960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8FA0B8C5-B07C-46B2-A194-575A20C3A2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417639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xmlns="" id="{D4308AFC-87C4-4334-9E08-7DEAE8E42B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417639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xmlns="" id="{FC86AF11-9946-4525-8A0C-602E2088A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8329900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8B8B90B0-575F-47AD-B46D-111D89FE7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70721"/>
            <a:ext cx="8229600" cy="823119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A9805BF6-A82B-48DB-BA27-A65866F7AB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493838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B958CFB5-9C9E-4603-BCE3-4E08E1683E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" y="2144712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xmlns="" id="{A2173B90-24B7-4B96-B283-20472BB320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45026" y="1493838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xmlns="" id="{F1D4FD36-5480-4B06-8B6D-A45481E7D6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45026" y="2144712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xmlns="" id="{FB6AC470-2631-45C2-B09D-E2D46B3F81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07096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74288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E479162-5006-4C7D-8ED6-F17E1655A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6F3AFBD6-2E31-4C93-AE26-01C515DB1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268701"/>
      </p:ext>
    </p:extLst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CAE26A74-C4E1-4EDB-B760-273420CBB8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311093"/>
      </p:ext>
    </p:extLst>
  </p:cSld>
  <p:clrMapOvr>
    <a:masterClrMapping/>
  </p:clrMapOvr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xmlns="" id="{28EC784B-6DFD-4590-9012-42C4CEF67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762000"/>
            <a:ext cx="3008313" cy="1162050"/>
          </a:xfrm>
        </p:spPr>
        <p:txBody>
          <a:bodyPr anchor="b"/>
          <a:lstStyle>
            <a:lvl1pPr algn="l">
              <a:defRPr sz="15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46D8870B-6B4E-4085-8958-BDADF1DFC4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5050" y="762001"/>
            <a:ext cx="5111750" cy="5213350"/>
          </a:xfrm>
        </p:spPr>
        <p:txBody>
          <a:bodyPr/>
          <a:lstStyle>
            <a:lvl1pPr>
              <a:defRPr sz="2100">
                <a:solidFill>
                  <a:schemeClr val="tx1"/>
                </a:solidFill>
              </a:defRPr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7BFDD5AC-BF31-48C9-A7B0-D63A76D9A5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1924052"/>
            <a:ext cx="3008313" cy="4051301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86966218-1EE7-4C20-870A-99D457537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6227677"/>
      </p:ext>
    </p:extLst>
  </p:cSld>
  <p:clrMapOvr>
    <a:masterClrMapping/>
  </p:clrMapOvr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3569E5AF-F234-470C-9DE8-4280D66A2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xmlns="" id="{8676F200-A676-4F3E-9345-E4C854A687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792288" y="685800"/>
            <a:ext cx="5486400" cy="404177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D8CC0A70-9D39-4CEC-B24F-2378B24F91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7286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xmlns="" id="{DF703FA3-31B8-4523-AA99-0068D8107B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118645"/>
      </p:ext>
    </p:extLst>
  </p:cSld>
  <p:clrMapOvr>
    <a:masterClrMapping/>
  </p:clrMapOvr>
  <p:hf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xmlns="" id="{5E479162-5006-4C7D-8ED6-F17E1655A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0" y="3886200"/>
            <a:ext cx="8229600" cy="731838"/>
          </a:xfrm>
        </p:spPr>
        <p:txBody>
          <a:bodyPr/>
          <a:lstStyle>
            <a:lvl1pPr algn="l"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6F3AFBD6-2E31-4C93-AE26-01C515DB1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812503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1A1DA85C-AB89-497B-B718-75DF58055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1474E5A9-EBBC-4E94-A4AC-CB6DE78F0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5239"/>
            <a:ext cx="8229600" cy="4525963"/>
          </a:xfrm>
        </p:spPr>
        <p:txBody>
          <a:bodyPr/>
          <a:lstStyle>
            <a:lvl1pPr>
              <a:defRPr>
                <a:latin typeface="Calibri (Body)"/>
                <a:cs typeface="Calibri" panose="020F0502020204030204" pitchFamily="34" charset="0"/>
              </a:defRPr>
            </a:lvl1pPr>
            <a:lvl2pPr>
              <a:defRPr>
                <a:latin typeface="Calibri (Body)"/>
                <a:cs typeface="Calibri" panose="020F0502020204030204" pitchFamily="34" charset="0"/>
              </a:defRPr>
            </a:lvl2pPr>
            <a:lvl3pPr>
              <a:defRPr>
                <a:latin typeface="Calibri (Body)"/>
                <a:cs typeface="Calibri" panose="020F0502020204030204" pitchFamily="34" charset="0"/>
              </a:defRPr>
            </a:lvl3pPr>
            <a:lvl4pPr>
              <a:defRPr>
                <a:latin typeface="Calibri (Body)"/>
                <a:cs typeface="Calibri" panose="020F0502020204030204" pitchFamily="34" charset="0"/>
              </a:defRPr>
            </a:lvl4pPr>
            <a:lvl5pPr>
              <a:defRPr>
                <a:latin typeface="Calibri (Body)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E83D54E0-FB02-4090-A9CF-0CB4C9EE4F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9777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xmlns="" id="{75D17B43-F555-4971-9FAD-475D69F19AD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722313" y="4138615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700">
                <a:solidFill>
                  <a:schemeClr val="tx1"/>
                </a:solidFill>
                <a:latin typeface="Calibri (Heading)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58326922-220E-4EC3-89F8-782782BCB2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2313" y="2590802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2F4E8164-C12D-4F26-8768-6FDEDAA62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3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0854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C27C00A-59B4-49D0-B7AC-1D016A026F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21771"/>
            <a:ext cx="8610600" cy="67709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6F48B1-7BC3-4A7B-9F48-793D8612DD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838202"/>
            <a:ext cx="8610600" cy="502919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65A9B036-5FE2-4A79-9C97-083A096376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2500" y="5762512"/>
            <a:ext cx="37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050620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10F53EB-D938-4F90-A300-54D21B94C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6">
            <a:extLst>
              <a:ext uri="{FF2B5EF4-FFF2-40B4-BE49-F238E27FC236}">
                <a16:creationId xmlns:a16="http://schemas.microsoft.com/office/drawing/2014/main" xmlns="" id="{D19D2D2C-5BD1-411D-BB57-FB2A522E6D2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28600" y="838202"/>
            <a:ext cx="8610600" cy="50291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7C684A9-6552-4BE4-A4D4-6F71B91420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24108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5F6B576-EDF7-4A82-938C-CFA849B06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A09F6543-1310-40EA-9C5E-BCA63447E7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95402"/>
            <a:ext cx="8229600" cy="4830763"/>
          </a:xfrm>
        </p:spPr>
        <p:txBody>
          <a:bodyPr/>
          <a:lstStyle>
            <a:lvl1pPr>
              <a:defRPr>
                <a:latin typeface="Calibri (Headings)"/>
              </a:defRPr>
            </a:lvl1pPr>
            <a:lvl2pPr>
              <a:defRPr>
                <a:latin typeface="Calibri (Headings)"/>
              </a:defRPr>
            </a:lvl2pPr>
            <a:lvl3pPr>
              <a:defRPr>
                <a:latin typeface="Calibri (Headings)"/>
              </a:defRPr>
            </a:lvl3pPr>
            <a:lvl4pPr>
              <a:defRPr>
                <a:latin typeface="Calibri (Headings)"/>
              </a:defRPr>
            </a:lvl4pPr>
            <a:lvl5pPr>
              <a:defRPr>
                <a:latin typeface="Calibri (Headings)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5AB9E2E-2622-45D3-B42A-FE97A5777D6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677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1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3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image" Target="../media/image3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image" Target="../media/image7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102.xml"/><Relationship Id="rId9" Type="http://schemas.openxmlformats.org/officeDocument/2006/relationships/image" Target="../media/image1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image" Target="../media/image8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0.xml"/><Relationship Id="rId7" Type="http://schemas.openxmlformats.org/officeDocument/2006/relationships/theme" Target="../theme/theme15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21.xml"/><Relationship Id="rId9" Type="http://schemas.openxmlformats.org/officeDocument/2006/relationships/image" Target="../media/image3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9" Type="http://schemas.openxmlformats.org/officeDocument/2006/relationships/image" Target="../media/image2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44.xml"/><Relationship Id="rId9" Type="http://schemas.openxmlformats.org/officeDocument/2006/relationships/image" Target="../media/image2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150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tags" Target="../tags/tag29.xml"/><Relationship Id="rId5" Type="http://schemas.openxmlformats.org/officeDocument/2006/relationships/vmlDrawing" Target="../drawings/vmlDrawing13.vml"/><Relationship Id="rId10" Type="http://schemas.openxmlformats.org/officeDocument/2006/relationships/image" Target="../media/image3.png"/><Relationship Id="rId4" Type="http://schemas.openxmlformats.org/officeDocument/2006/relationships/theme" Target="../theme/theme19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2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slideLayout" Target="../slideLayouts/slideLayout153.xml"/><Relationship Id="rId7" Type="http://schemas.openxmlformats.org/officeDocument/2006/relationships/vmlDrawing" Target="../drawings/vmlDrawing16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theme" Target="../theme/theme20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55.xml"/><Relationship Id="rId10" Type="http://schemas.openxmlformats.org/officeDocument/2006/relationships/image" Target="../media/image9.emf"/><Relationship Id="rId4" Type="http://schemas.openxmlformats.org/officeDocument/2006/relationships/slideLayout" Target="../slideLayouts/slideLayout154.xml"/><Relationship Id="rId9" Type="http://schemas.openxmlformats.org/officeDocument/2006/relationships/oleObject" Target="../embeddings/oleObject16.bin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5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2.xml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9" Type="http://schemas.openxmlformats.org/officeDocument/2006/relationships/image" Target="../media/image1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3.xml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6" Type="http://schemas.openxmlformats.org/officeDocument/2006/relationships/oleObject" Target="../embeddings/oleObject19.bin"/><Relationship Id="rId5" Type="http://schemas.openxmlformats.org/officeDocument/2006/relationships/tags" Target="../tags/tag35.xml"/><Relationship Id="rId4" Type="http://schemas.openxmlformats.org/officeDocument/2006/relationships/vmlDrawing" Target="../drawings/vmlDrawing19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3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52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ags" Target="../tags/tag1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5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6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400" y="0"/>
            <a:ext cx="87630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5400"/>
            <a:ext cx="8229600" cy="4830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5301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894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8" r:id="rId1"/>
    <p:sldLayoutId id="2147485919" r:id="rId2"/>
    <p:sldLayoutId id="2147485920" r:id="rId3"/>
    <p:sldLayoutId id="2147485921" r:id="rId4"/>
    <p:sldLayoutId id="2147485922" r:id="rId5"/>
    <p:sldLayoutId id="2147485923" r:id="rId6"/>
    <p:sldLayoutId id="2147485924" r:id="rId7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89958" y="6356441"/>
            <a:ext cx="4101016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dirty="0"/>
              <a:t>Draft - Pre-Decisional Deliberative Document </a:t>
            </a:r>
          </a:p>
          <a:p>
            <a:pPr defTabSz="457200"/>
            <a:r>
              <a:rPr lang="it-IT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4039018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8" r:id="rId1"/>
    <p:sldLayoutId id="2147486049" r:id="rId2"/>
    <p:sldLayoutId id="2147486050" r:id="rId3"/>
    <p:sldLayoutId id="2147486051" r:id="rId4"/>
    <p:sldLayoutId id="2147486052" r:id="rId5"/>
    <p:sldLayoutId id="2147486054" r:id="rId6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A4417E3-F96E-4BED-A250-BA8903864D2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B772151B-E27A-4B1F-8D8C-ECD59716D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-21771"/>
            <a:ext cx="7886700" cy="6770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084053F-3D7C-4C89-B169-B317230E9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914873"/>
            <a:ext cx="7981950" cy="48763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95F1D96-94D5-4DE4-99C6-9E542D3671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8C9AFDF-C811-4803-AE55-30B2A16099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6126162"/>
            <a:ext cx="9144000" cy="731838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2" descr="Choose VA Logo.">
            <a:extLst>
              <a:ext uri="{FF2B5EF4-FFF2-40B4-BE49-F238E27FC236}">
                <a16:creationId xmlns:a16="http://schemas.microsoft.com/office/drawing/2014/main" xmlns="" id="{F0EAEAC9-1952-4BB9-9FFA-F042888586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49" y="6192718"/>
            <a:ext cx="1961358" cy="52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Logo for the Department of Veterans Affairs, VHA Office of Community Care.">
            <a:extLst>
              <a:ext uri="{FF2B5EF4-FFF2-40B4-BE49-F238E27FC236}">
                <a16:creationId xmlns:a16="http://schemas.microsoft.com/office/drawing/2014/main" xmlns="" id="{17303BC9-F736-4E63-ADC7-7507E704D6E8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307" y="6272571"/>
            <a:ext cx="2310493" cy="484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73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4" r:id="rId1"/>
    <p:sldLayoutId id="2147486095" r:id="rId2"/>
    <p:sldLayoutId id="2147486096" r:id="rId3"/>
    <p:sldLayoutId id="2147486097" r:id="rId4"/>
    <p:sldLayoutId id="2147486098" r:id="rId5"/>
    <p:sldLayoutId id="2147486099" r:id="rId6"/>
    <p:sldLayoutId id="2147486100" r:id="rId7"/>
    <p:sldLayoutId id="2147486101" r:id="rId8"/>
    <p:sldLayoutId id="2147486102" r:id="rId9"/>
    <p:sldLayoutId id="2147486103" r:id="rId10"/>
    <p:sldLayoutId id="2147486104" r:id="rId11"/>
    <p:sldLayoutId id="2147486105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A4417E3-F96E-4BED-A250-BA8903864D25}"/>
              </a:ext>
            </a:extLst>
          </p:cNvPr>
          <p:cNvSpPr/>
          <p:nvPr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B772151B-E27A-4B1F-8D8C-ECD59716D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-21771"/>
            <a:ext cx="8572500" cy="6770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084053F-3D7C-4C89-B169-B317230E9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750" y="914873"/>
            <a:ext cx="8572500" cy="48763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xmlns="" id="{1A4793A0-72B3-479C-9BAC-F03ACB5EB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2500" y="5762512"/>
            <a:ext cx="37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8C9AFDF-C811-4803-AE55-30B2A16099CF}"/>
              </a:ext>
            </a:extLst>
          </p:cNvPr>
          <p:cNvSpPr/>
          <p:nvPr/>
        </p:nvSpPr>
        <p:spPr>
          <a:xfrm>
            <a:off x="0" y="6126162"/>
            <a:ext cx="9144000" cy="731838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6" name="Picture 2" descr="Choose VA Logo.">
            <a:extLst>
              <a:ext uri="{FF2B5EF4-FFF2-40B4-BE49-F238E27FC236}">
                <a16:creationId xmlns:a16="http://schemas.microsoft.com/office/drawing/2014/main" xmlns="" id="{4258EF9A-3040-4FA5-AC6D-21E6C70D1B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192718"/>
            <a:ext cx="1471019" cy="52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Logo for the Department of Veterans Affairs, VHA Office of Community Care.">
            <a:extLst>
              <a:ext uri="{FF2B5EF4-FFF2-40B4-BE49-F238E27FC236}">
                <a16:creationId xmlns:a16="http://schemas.microsoft.com/office/drawing/2014/main" xmlns="" id="{66260C67-25FC-43CA-A55B-BD5DF0A7225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6272572"/>
            <a:ext cx="1732870" cy="48411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D593870-E75E-493C-B91D-F7A3BC56893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FA3D894-1757-44E7-B584-3EFE1E5A714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6126162"/>
            <a:ext cx="9144000" cy="731838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2" descr="Choose VA Logo.">
            <a:extLst>
              <a:ext uri="{FF2B5EF4-FFF2-40B4-BE49-F238E27FC236}">
                <a16:creationId xmlns:a16="http://schemas.microsoft.com/office/drawing/2014/main" xmlns="" id="{BCE554F8-DF59-4C72-98EF-D806715F84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49" y="6192718"/>
            <a:ext cx="1961358" cy="52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Logo for the Department of Veterans Affairs, VHA Office of Community Care.">
            <a:extLst>
              <a:ext uri="{FF2B5EF4-FFF2-40B4-BE49-F238E27FC236}">
                <a16:creationId xmlns:a16="http://schemas.microsoft.com/office/drawing/2014/main" xmlns="" id="{48EABC15-8A3A-4E4F-81BC-5C38DBBD6A5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307" y="6272571"/>
            <a:ext cx="2310493" cy="484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26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10" r:id="rId1"/>
    <p:sldLayoutId id="2147486111" r:id="rId2"/>
    <p:sldLayoutId id="2147486112" r:id="rId3"/>
    <p:sldLayoutId id="2147486113" r:id="rId4"/>
    <p:sldLayoutId id="2147486114" r:id="rId5"/>
    <p:sldLayoutId id="2147486115" r:id="rId6"/>
    <p:sldLayoutId id="2147486116" r:id="rId7"/>
    <p:sldLayoutId id="2147486117" r:id="rId8"/>
    <p:sldLayoutId id="2147486118" r:id="rId9"/>
    <p:sldLayoutId id="2147486119" r:id="rId10"/>
    <p:sldLayoutId id="2147486120" r:id="rId11"/>
    <p:sldLayoutId id="2147486121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400" y="0"/>
            <a:ext cx="87630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5402"/>
            <a:ext cx="8229600" cy="4830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53016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122A4168-FDD5-490D-97CA-067BE328F9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265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38" r:id="rId1"/>
    <p:sldLayoutId id="2147486139" r:id="rId2"/>
    <p:sldLayoutId id="2147486140" r:id="rId3"/>
    <p:sldLayoutId id="2147486141" r:id="rId4"/>
    <p:sldLayoutId id="2147486142" r:id="rId5"/>
    <p:sldLayoutId id="2147486143" r:id="rId6"/>
    <p:sldLayoutId id="2147486144" r:id="rId7"/>
  </p:sldLayoutIdLst>
  <p:hf hdr="0" ftr="0"/>
  <p:txStyles>
    <p:titleStyle>
      <a:lvl1pPr algn="ctr" defTabSz="685800" rtl="0" eaLnBrk="1" latinLnBrk="0" hangingPunct="1">
        <a:spcBef>
          <a:spcPct val="0"/>
        </a:spcBef>
        <a:buNone/>
        <a:defRPr sz="27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A4417E3-F96E-4BED-A250-BA8903864D25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B772151B-E27A-4B1F-8D8C-ECD59716D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-21771"/>
            <a:ext cx="8572500" cy="6770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084053F-3D7C-4C89-B169-B317230E9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750" y="914873"/>
            <a:ext cx="8572500" cy="48763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xmlns="" id="{1A4793A0-72B3-479C-9BAC-F03ACB5EB7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2500" y="5762512"/>
            <a:ext cx="3714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8C9AFDF-C811-4803-AE55-30B2A16099CF}"/>
              </a:ext>
            </a:extLst>
          </p:cNvPr>
          <p:cNvSpPr/>
          <p:nvPr userDrawn="1"/>
        </p:nvSpPr>
        <p:spPr>
          <a:xfrm>
            <a:off x="0" y="6126162"/>
            <a:ext cx="9144000" cy="731838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6" name="Picture 2" descr="Choose VA Logo.">
            <a:extLst>
              <a:ext uri="{FF2B5EF4-FFF2-40B4-BE49-F238E27FC236}">
                <a16:creationId xmlns:a16="http://schemas.microsoft.com/office/drawing/2014/main" xmlns="" id="{4258EF9A-3040-4FA5-AC6D-21E6C70D1B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6192718"/>
            <a:ext cx="1471019" cy="52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Logo for the Department of Veterans Affairs, VHA Office of Community Care.">
            <a:extLst>
              <a:ext uri="{FF2B5EF4-FFF2-40B4-BE49-F238E27FC236}">
                <a16:creationId xmlns:a16="http://schemas.microsoft.com/office/drawing/2014/main" xmlns="" id="{66260C67-25FC-43CA-A55B-BD5DF0A7225C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6272572"/>
            <a:ext cx="1732870" cy="484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80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46" r:id="rId1"/>
    <p:sldLayoutId id="2147486147" r:id="rId2"/>
    <p:sldLayoutId id="2147486148" r:id="rId3"/>
    <p:sldLayoutId id="2147486149" r:id="rId4"/>
    <p:sldLayoutId id="2147486150" r:id="rId5"/>
    <p:sldLayoutId id="2147486151" r:id="rId6"/>
    <p:sldLayoutId id="2147486152" r:id="rId7"/>
    <p:sldLayoutId id="2147486153" r:id="rId8"/>
    <p:sldLayoutId id="2147486154" r:id="rId9"/>
    <p:sldLayoutId id="2147486155" r:id="rId10"/>
    <p:sldLayoutId id="2147486156" r:id="rId11"/>
    <p:sldLayoutId id="2147486157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89958" y="6356441"/>
            <a:ext cx="4101016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dirty="0"/>
              <a:t>Draft - Pre-Decisional Deliberative Document </a:t>
            </a:r>
          </a:p>
          <a:p>
            <a:pPr defTabSz="457200"/>
            <a:r>
              <a:rPr lang="it-IT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330159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59" r:id="rId1"/>
    <p:sldLayoutId id="2147486160" r:id="rId2"/>
    <p:sldLayoutId id="2147486161" r:id="rId3"/>
    <p:sldLayoutId id="2147486162" r:id="rId4"/>
    <p:sldLayoutId id="2147486163" r:id="rId5"/>
    <p:sldLayoutId id="2147486164" r:id="rId6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6140684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1435" tIns="25718" rIns="51435" bIns="25718" rtlCol="0" anchor="ctr"/>
          <a:lstStyle/>
          <a:p>
            <a:pPr algn="ctr" defTabSz="257175"/>
            <a:endParaRPr lang="en-US" sz="1013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4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bg1"/>
                </a:solidFill>
              </a:defRPr>
            </a:lvl1pPr>
          </a:lstStyle>
          <a:p>
            <a:fld id="{046C0A8C-43F7-45AF-8E06-5B1AB11E6C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58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66" r:id="rId1"/>
    <p:sldLayoutId id="2147486167" r:id="rId2"/>
    <p:sldLayoutId id="2147486168" r:id="rId3"/>
    <p:sldLayoutId id="2147486169" r:id="rId4"/>
    <p:sldLayoutId id="2147486170" r:id="rId5"/>
    <p:sldLayoutId id="2147486171" r:id="rId6"/>
    <p:sldLayoutId id="2147486172" r:id="rId7"/>
  </p:sldLayoutIdLst>
  <p:txStyles>
    <p:titleStyle>
      <a:lvl1pPr algn="ctr" defTabSz="257175" rtl="0" eaLnBrk="1" latinLnBrk="0" hangingPunct="1"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2881" indent="-192881" algn="l" defTabSz="257175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7910" indent="-160735" algn="l" defTabSz="257175" rtl="0" eaLnBrk="1" latinLnBrk="0" hangingPunct="1">
        <a:spcBef>
          <a:spcPct val="20000"/>
        </a:spcBef>
        <a:buFont typeface="Arial"/>
        <a:buChar char="–"/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257175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257175" rtl="0" eaLnBrk="1" latinLnBrk="0" hangingPunct="1">
        <a:spcBef>
          <a:spcPct val="20000"/>
        </a:spcBef>
        <a:buFont typeface="Arial"/>
        <a:buChar char="–"/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257175" rtl="0" eaLnBrk="1" latinLnBrk="0" hangingPunct="1">
        <a:spcBef>
          <a:spcPct val="20000"/>
        </a:spcBef>
        <a:buFont typeface="Arial"/>
        <a:buChar char="»"/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0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3429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3429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0888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74" r:id="rId1"/>
    <p:sldLayoutId id="2147486175" r:id="rId2"/>
    <p:sldLayoutId id="2147486176" r:id="rId3"/>
    <p:sldLayoutId id="2147486177" r:id="rId4"/>
    <p:sldLayoutId id="2147486178" r:id="rId5"/>
    <p:sldLayoutId id="2147486179" r:id="rId6"/>
    <p:sldLayoutId id="2147486180" r:id="rId7"/>
    <p:sldLayoutId id="2147486181" r:id="rId8"/>
    <p:sldLayoutId id="2147486183" r:id="rId9"/>
    <p:sldLayoutId id="2147486184" r:id="rId10"/>
  </p:sldLayoutIdLst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5920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89" r:id="rId1"/>
    <p:sldLayoutId id="2147486190" r:id="rId2"/>
    <p:sldLayoutId id="2147486191" r:id="rId3"/>
    <p:sldLayoutId id="2147486192" r:id="rId4"/>
    <p:sldLayoutId id="2147486193" r:id="rId5"/>
    <p:sldLayoutId id="2147486194" r:id="rId6"/>
    <p:sldLayoutId id="2147486195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84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75"/>
              <a:endParaRPr lang="en-US" sz="1013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bg1"/>
                </a:solidFill>
              </a:defRPr>
            </a:lvl1pPr>
          </a:lstStyle>
          <a:p>
            <a:pPr defTabSz="257175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257175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0835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9" r:id="rId1"/>
    <p:sldLayoutId id="2147486200" r:id="rId2"/>
    <p:sldLayoutId id="2147486201" r:id="rId3"/>
  </p:sldLayoutIdLst>
  <p:hf hdr="0" ftr="0" dt="0"/>
  <p:txStyles>
    <p:titleStyle>
      <a:lvl1pPr algn="ctr" defTabSz="257175" rtl="0" eaLnBrk="1" latinLnBrk="0" hangingPunct="1"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2881" indent="-192881" algn="l" defTabSz="257175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7910" indent="-160735" algn="l" defTabSz="257175" rtl="0" eaLnBrk="1" latinLnBrk="0" hangingPunct="1">
        <a:spcBef>
          <a:spcPct val="20000"/>
        </a:spcBef>
        <a:buFont typeface="Arial"/>
        <a:buChar char="–"/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257175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257175" rtl="0" eaLnBrk="1" latinLnBrk="0" hangingPunct="1">
        <a:spcBef>
          <a:spcPct val="20000"/>
        </a:spcBef>
        <a:buFont typeface="Arial"/>
        <a:buChar char="–"/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257175" rtl="0" eaLnBrk="1" latinLnBrk="0" hangingPunct="1">
        <a:spcBef>
          <a:spcPct val="20000"/>
        </a:spcBef>
        <a:buFont typeface="Arial"/>
        <a:buChar char="»"/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2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2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3429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3429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16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6" r:id="rId1"/>
    <p:sldLayoutId id="2147485927" r:id="rId2"/>
    <p:sldLayoutId id="2147485928" r:id="rId3"/>
    <p:sldLayoutId id="2147485929" r:id="rId4"/>
    <p:sldLayoutId id="2147485930" r:id="rId5"/>
    <p:sldLayoutId id="2147485931" r:id="rId6"/>
    <p:sldLayoutId id="2147485932" r:id="rId7"/>
  </p:sldLayoutIdLst>
  <p:hf sldNum="0" hd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82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900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66784469-3284-49E6-AA32-CC1F05C8C101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2087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03" r:id="rId1"/>
    <p:sldLayoutId id="2147486204" r:id="rId2"/>
    <p:sldLayoutId id="2147486205" r:id="rId3"/>
    <p:sldLayoutId id="2147486206" r:id="rId4"/>
    <p:sldLayoutId id="2147486207" r:id="rId5"/>
  </p:sldLayoutIdLst>
  <p:hf sldNum="0"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89958" y="6356443"/>
            <a:ext cx="4101016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it-IT"/>
              <a:t>Draft - Pre-Decisional Deliberative Document </a:t>
            </a:r>
          </a:p>
          <a:p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72013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09" r:id="rId1"/>
    <p:sldLayoutId id="2147486210" r:id="rId2"/>
    <p:sldLayoutId id="2147486211" r:id="rId3"/>
    <p:sldLayoutId id="2147486212" r:id="rId4"/>
    <p:sldLayoutId id="2147486213" r:id="rId5"/>
  </p:sldLayoutIdLst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6553200"/>
            <a:ext cx="2133600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750">
                <a:solidFill>
                  <a:schemeClr val="bg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r>
              <a:rPr lang="en-US"/>
              <a:t>DATE</a:t>
            </a:r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3"/>
          </p:nvPr>
        </p:nvSpPr>
        <p:spPr>
          <a:xfrm>
            <a:off x="2971800" y="6553200"/>
            <a:ext cx="3886200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750" b="1">
                <a:solidFill>
                  <a:schemeClr val="bg1"/>
                </a:solidFill>
                <a:latin typeface="Georgia" charset="0"/>
                <a:ea typeface="ヒラギノ角ゴ Pro W3" charset="-128"/>
                <a:cs typeface="ヒラギノ角ゴ Pro W3" charset="-128"/>
              </a:defRPr>
            </a:lvl1pPr>
          </a:lstStyle>
          <a:p>
            <a:pPr>
              <a:defRPr/>
            </a:pPr>
            <a:r>
              <a:rPr lang="en-US"/>
              <a:t>Telehealth 2020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553200" y="6553200"/>
            <a:ext cx="2133600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75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9139101-6F9B-489D-BAD7-ABBC65B5E9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32A77C3F-94FB-43EC-A110-107002A52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1508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9" r:id="rId1"/>
    <p:sldLayoutId id="2147486220" r:id="rId2"/>
    <p:sldLayoutId id="2147486221" r:id="rId3"/>
    <p:sldLayoutId id="2147486222" r:id="rId4"/>
    <p:sldLayoutId id="2147486223" r:id="rId5"/>
    <p:sldLayoutId id="2147486224" r:id="rId6"/>
    <p:sldLayoutId id="2147486225" r:id="rId7"/>
  </p:sldLayoutIdLst>
  <p:hf hdr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3300" b="0" i="0" u="none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 charset="-128"/>
        </a:defRPr>
      </a:lvl5pPr>
      <a:lvl6pPr marL="3429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557213" indent="-214313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8572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MS PGothic" pitchFamily="34" charset="-128"/>
          <a:cs typeface="ヒラギノ角ゴ Pro W3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MS PGothic" pitchFamily="34" charset="-128"/>
          <a:cs typeface="ヒラギノ角ゴ Pro W3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90711691"/>
              </p:ext>
            </p:ext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2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3429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3429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0" y="6155565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B0D8BC4-C2A0-49D8-9C20-DDEC66B5CA1D}"/>
              </a:ext>
            </a:extLst>
          </p:cNvPr>
          <p:cNvSpPr txBox="1"/>
          <p:nvPr userDrawn="1"/>
        </p:nvSpPr>
        <p:spPr>
          <a:xfrm>
            <a:off x="332748" y="6244440"/>
            <a:ext cx="3942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1" dirty="0">
                <a:solidFill>
                  <a:schemeClr val="bg1"/>
                </a:solidFill>
              </a:rPr>
              <a:t>Safe </a:t>
            </a:r>
            <a:r>
              <a:rPr lang="en-US" sz="1800" b="1" dirty="0">
                <a:solidFill>
                  <a:schemeClr val="bg1"/>
                </a:solidFill>
              </a:rPr>
              <a:t>Care is Our Mission</a:t>
            </a:r>
          </a:p>
        </p:txBody>
      </p:sp>
    </p:spTree>
    <p:extLst>
      <p:ext uri="{BB962C8B-B14F-4D97-AF65-F5344CB8AC3E}">
        <p14:creationId xmlns:p14="http://schemas.microsoft.com/office/powerpoint/2010/main" val="3665926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27" r:id="rId1"/>
    <p:sldLayoutId id="2147486228" r:id="rId2"/>
  </p:sldLayoutIdLst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3429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3429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3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9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3429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329734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34" r:id="rId1"/>
    <p:sldLayoutId id="2147485935" r:id="rId2"/>
    <p:sldLayoutId id="2147485936" r:id="rId3"/>
    <p:sldLayoutId id="2147485937" r:id="rId4"/>
    <p:sldLayoutId id="2147485938" r:id="rId5"/>
    <p:sldLayoutId id="2147485939" r:id="rId6"/>
    <p:sldLayoutId id="2147485940" r:id="rId7"/>
  </p:sldLayoutIdLst>
  <p:hf hd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6750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2" r:id="rId1"/>
    <p:sldLayoutId id="2147485943" r:id="rId2"/>
    <p:sldLayoutId id="2147485944" r:id="rId3"/>
    <p:sldLayoutId id="2147485945" r:id="rId4"/>
    <p:sldLayoutId id="2147485946" r:id="rId5"/>
    <p:sldLayoutId id="2147485947" r:id="rId6"/>
    <p:sldLayoutId id="2147485948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223AC07-D731-4761-A817-CAB502F00489}"/>
              </a:ext>
            </a:extLst>
          </p:cNvPr>
          <p:cNvSpPr/>
          <p:nvPr userDrawn="1"/>
        </p:nvSpPr>
        <p:spPr>
          <a:xfrm>
            <a:off x="0" y="0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463" y="0"/>
            <a:ext cx="82296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3726" y="945351"/>
            <a:ext cx="8229600" cy="5043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9"/>
    </p:custDataLst>
    <p:extLst>
      <p:ext uri="{BB962C8B-B14F-4D97-AF65-F5344CB8AC3E}">
        <p14:creationId xmlns:p14="http://schemas.microsoft.com/office/powerpoint/2010/main" val="2197737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0" r:id="rId1"/>
    <p:sldLayoutId id="2147485951" r:id="rId2"/>
    <p:sldLayoutId id="2147485952" r:id="rId3"/>
    <p:sldLayoutId id="2147485953" r:id="rId4"/>
    <p:sldLayoutId id="2147485954" r:id="rId5"/>
    <p:sldLayoutId id="2147485955" r:id="rId6"/>
    <p:sldLayoutId id="2147485956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─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2A4417E3-F96E-4BED-A250-BA8903864D2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B772151B-E27A-4B1F-8D8C-ECD59716D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-21771"/>
            <a:ext cx="7886700" cy="6770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084053F-3D7C-4C89-B169-B317230E9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914873"/>
            <a:ext cx="7981950" cy="48763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95F1D96-94D5-4DE4-99C6-9E542D3671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20100" y="5762511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B8B01BA-673E-4211-9E64-C22898E6AF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8C9AFDF-C811-4803-AE55-30B2A16099C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6126162"/>
            <a:ext cx="9144000" cy="731838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" name="Picture 2" descr="Choose VA Logo.">
            <a:extLst>
              <a:ext uri="{FF2B5EF4-FFF2-40B4-BE49-F238E27FC236}">
                <a16:creationId xmlns:a16="http://schemas.microsoft.com/office/drawing/2014/main" xmlns="" id="{F0EAEAC9-1952-4BB9-9FFA-F042888586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49" y="6192718"/>
            <a:ext cx="1961358" cy="52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Logo for the Department of Veterans Affairs, VHA Office of Community Care.">
            <a:extLst>
              <a:ext uri="{FF2B5EF4-FFF2-40B4-BE49-F238E27FC236}">
                <a16:creationId xmlns:a16="http://schemas.microsoft.com/office/drawing/2014/main" xmlns="" id="{17303BC9-F736-4E63-ADC7-7507E704D6E8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307" y="6272571"/>
            <a:ext cx="2310493" cy="484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24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0" r:id="rId1"/>
    <p:sldLayoutId id="2147485961" r:id="rId2"/>
    <p:sldLayoutId id="2147485962" r:id="rId3"/>
    <p:sldLayoutId id="2147485963" r:id="rId4"/>
    <p:sldLayoutId id="2147485964" r:id="rId5"/>
    <p:sldLayoutId id="2147485965" r:id="rId6"/>
    <p:sldLayoutId id="2147485966" r:id="rId7"/>
    <p:sldLayoutId id="2147485967" r:id="rId8"/>
    <p:sldLayoutId id="2147485968" r:id="rId9"/>
    <p:sldLayoutId id="2147485969" r:id="rId10"/>
    <p:sldLayoutId id="2147485970" r:id="rId11"/>
    <p:sldLayoutId id="214748597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1DFEA488-B13E-4BE4-9DB4-BEFF8A81003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110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9" y="6163811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0106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4" r:id="rId1"/>
    <p:sldLayoutId id="2147485975" r:id="rId2"/>
    <p:sldLayoutId id="2147485976" r:id="rId3"/>
    <p:sldLayoutId id="2147485977" r:id="rId4"/>
    <p:sldLayoutId id="2147485978" r:id="rId5"/>
    <p:sldLayoutId id="2147485979" r:id="rId6"/>
    <p:sldLayoutId id="2147485980" r:id="rId7"/>
    <p:sldLayoutId id="2147485981" r:id="rId8"/>
    <p:sldLayoutId id="2147485982" r:id="rId9"/>
    <p:sldLayoutId id="2147485983" r:id="rId10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89958" y="6356441"/>
            <a:ext cx="4101016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dirty="0"/>
              <a:t>Draft - Pre-Decisional Deliberative Document </a:t>
            </a:r>
          </a:p>
          <a:p>
            <a:pPr defTabSz="457200"/>
            <a:r>
              <a:rPr lang="it-IT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72553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6" r:id="rId1"/>
    <p:sldLayoutId id="2147485987" r:id="rId2"/>
    <p:sldLayoutId id="2147485988" r:id="rId3"/>
    <p:sldLayoutId id="2147485989" r:id="rId4"/>
    <p:sldLayoutId id="2147485990" r:id="rId5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172200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89958" y="6356441"/>
            <a:ext cx="4101016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dirty="0"/>
              <a:t>Draft - Pre-Decisional Deliberative Document </a:t>
            </a:r>
          </a:p>
          <a:p>
            <a:pPr defTabSz="457200"/>
            <a:r>
              <a:rPr lang="it-IT" dirty="0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581771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22" r:id="rId1"/>
    <p:sldLayoutId id="2147486023" r:id="rId2"/>
    <p:sldLayoutId id="2147486024" r:id="rId3"/>
    <p:sldLayoutId id="2147486025" r:id="rId4"/>
    <p:sldLayoutId id="2147486026" r:id="rId5"/>
    <p:sldLayoutId id="2147486028" r:id="rId6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62580"/>
            <a:ext cx="9144000" cy="523220"/>
          </a:xfrm>
        </p:spPr>
        <p:txBody>
          <a:bodyPr/>
          <a:lstStyle/>
          <a:p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Community Care Emergency Notification Process</a:t>
            </a:r>
            <a:b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6400800" y="5657851"/>
            <a:ext cx="1600200" cy="273844"/>
          </a:xfrm>
        </p:spPr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D983F1FA-211D-3044-9E35-958DFBC26156}" type="slidenum">
              <a:rPr lang="en-US">
                <a:solidFill>
                  <a:prstClr val="white"/>
                </a:solidFill>
                <a:latin typeface="Calibri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1</a:t>
            </a:fld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xmlns="" id="{D9182ED3-8D12-4CBD-A497-32B3461086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5954672"/>
              </p:ext>
            </p:extLst>
          </p:nvPr>
        </p:nvGraphicFramePr>
        <p:xfrm>
          <a:off x="89263" y="2020622"/>
          <a:ext cx="8991600" cy="28167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CD23EC21-1D79-4FF6-8E87-413BB3EF9298}"/>
              </a:ext>
            </a:extLst>
          </p:cNvPr>
          <p:cNvSpPr/>
          <p:nvPr/>
        </p:nvSpPr>
        <p:spPr>
          <a:xfrm>
            <a:off x="76200" y="793522"/>
            <a:ext cx="89785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On Monday, June 8th, 2020, VA deployed a new Emergency Care Call Center for Veterans who self-present to community hospitals for emergency service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2812AEC-96CA-4919-A5C1-AB3166D1C3BC}"/>
              </a:ext>
            </a:extLst>
          </p:cNvPr>
          <p:cNvSpPr/>
          <p:nvPr/>
        </p:nvSpPr>
        <p:spPr>
          <a:xfrm>
            <a:off x="-63137" y="4916032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i="1" dirty="0">
              <a:solidFill>
                <a:schemeClr val="accent2"/>
              </a:solidFill>
            </a:endParaRPr>
          </a:p>
          <a:p>
            <a:pPr algn="ctr"/>
            <a:r>
              <a:rPr lang="en-US" i="1" dirty="0">
                <a:solidFill>
                  <a:schemeClr val="accent4">
                    <a:lumMod val="75000"/>
                  </a:schemeClr>
                </a:solidFill>
              </a:rPr>
              <a:t>The Veteran or Community Provider must notify the VA within 72 Hours of </a:t>
            </a:r>
            <a:r>
              <a:rPr lang="en-US" i="1">
                <a:solidFill>
                  <a:schemeClr val="accent4">
                    <a:lumMod val="75000"/>
                  </a:schemeClr>
                </a:solidFill>
              </a:rPr>
              <a:t>ER visit.</a:t>
            </a:r>
            <a:endParaRPr lang="en-US" i="1" dirty="0">
              <a:solidFill>
                <a:schemeClr val="accent4">
                  <a:lumMod val="75000"/>
                </a:schemeClr>
              </a:solidFill>
            </a:endParaRPr>
          </a:p>
          <a:p>
            <a:pPr algn="ctr"/>
            <a:endParaRPr lang="en-US" i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2D90DAC-2066-44B6-86E0-31D1E529B68E}"/>
              </a:ext>
            </a:extLst>
          </p:cNvPr>
          <p:cNvSpPr/>
          <p:nvPr/>
        </p:nvSpPr>
        <p:spPr>
          <a:xfrm>
            <a:off x="228599" y="2133600"/>
            <a:ext cx="8826137" cy="2597766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/>
              <a:t>Please call </a:t>
            </a:r>
            <a:r>
              <a:rPr lang="en-US" sz="4400" b="1" dirty="0">
                <a:solidFill>
                  <a:schemeClr val="tx1"/>
                </a:solidFill>
              </a:rPr>
              <a:t>1-844-724-7842 </a:t>
            </a:r>
            <a:r>
              <a:rPr lang="en-US" sz="4400" dirty="0">
                <a:solidFill>
                  <a:schemeClr val="bg1"/>
                </a:solidFill>
              </a:rPr>
              <a:t>to </a:t>
            </a:r>
            <a:r>
              <a:rPr lang="en-US" sz="4400">
                <a:solidFill>
                  <a:schemeClr val="bg1"/>
                </a:solidFill>
              </a:rPr>
              <a:t>notify VA </a:t>
            </a:r>
            <a:r>
              <a:rPr lang="en-US" sz="4400" dirty="0">
                <a:solidFill>
                  <a:schemeClr val="bg1"/>
                </a:solidFill>
              </a:rPr>
              <a:t>about a recent ER visit in the community</a:t>
            </a:r>
            <a:endParaRPr lang="en-US" sz="4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8507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CC_PowerPoint_Template_508.pptx  -  Read-Only" id="{3CEB0C9F-C360-42B4-94D5-9B29BB6A3FB7}" vid="{31D46A34-2E12-4873-84CF-6650B79F85DB}"/>
    </a:ext>
  </a:extLst>
</a:theme>
</file>

<file path=ppt/theme/theme12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VA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VA Theme" id="{35F22B91-5426-4BA5-A802-08E74C49AD3A}" vid="{EFBCB4C3-AA34-4B77-9B6D-E66ECD1A9494}"/>
    </a:ext>
  </a:extLst>
</a:theme>
</file>

<file path=ppt/theme/theme17.xml><?xml version="1.0" encoding="utf-8"?>
<a:theme xmlns:a="http://schemas.openxmlformats.org/drawingml/2006/main" name="17_Office Theme">
  <a:themeElements>
    <a:clrScheme name="Custom 2">
      <a:dk1>
        <a:srgbClr val="000000"/>
      </a:dk1>
      <a:lt1>
        <a:sysClr val="window" lastClr="FFFFFF"/>
      </a:lt1>
      <a:dk2>
        <a:srgbClr val="003F72"/>
      </a:dk2>
      <a:lt2>
        <a:srgbClr val="D8D8D8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70C0"/>
      </a:hlink>
      <a:folHlink>
        <a:srgbClr val="007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4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VHA Theme1">
  <a:themeElements>
    <a:clrScheme name="Custom 1">
      <a:dk1>
        <a:srgbClr val="000000"/>
      </a:dk1>
      <a:lt1>
        <a:sysClr val="window" lastClr="FFFFFF"/>
      </a:lt1>
      <a:dk2>
        <a:srgbClr val="003F72"/>
      </a:dk2>
      <a:lt2>
        <a:srgbClr val="D8D8D8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70C0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VHA Theme1" id="{C4C255F9-0B3E-4D2B-BA4A-AFAD23624F6E}" vid="{A23AC20C-A456-4DA3-806B-258776C498C7}"/>
    </a:ext>
  </a:extLst>
</a:theme>
</file>

<file path=ppt/theme/theme21.xml><?xml version="1.0" encoding="utf-8"?>
<a:theme xmlns:a="http://schemas.openxmlformats.org/drawingml/2006/main" name="18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1_VHA P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8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1_Office Theme">
  <a:themeElements>
    <a:clrScheme name="Custom 3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00FF"/>
      </a:hlink>
      <a:folHlink>
        <a:srgbClr val="0000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hoose VA Template for all presentation starting May 2018 v1" id="{543C988B-DAB9-4B5D-9393-354A4B8C5A28}" vid="{F507B50E-36A9-4B32-B53A-A39C08534BBC}"/>
    </a:ext>
  </a:extLst>
</a:theme>
</file>

<file path=ppt/theme/theme6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856</TotalTime>
  <Words>63</Words>
  <Application>Microsoft Office PowerPoint</Application>
  <PresentationFormat>On-screen Show (4:3)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9" baseType="lpstr">
      <vt:lpstr>MS PGothic</vt:lpstr>
      <vt:lpstr>Arial</vt:lpstr>
      <vt:lpstr>Arial Regular</vt:lpstr>
      <vt:lpstr>Calibri</vt:lpstr>
      <vt:lpstr>Calibri (Body)</vt:lpstr>
      <vt:lpstr>Calibri (Heading)</vt:lpstr>
      <vt:lpstr>Calibri (Headings)</vt:lpstr>
      <vt:lpstr>Calibri Light</vt:lpstr>
      <vt:lpstr>Calibri Light (Headings)</vt:lpstr>
      <vt:lpstr>Courier New</vt:lpstr>
      <vt:lpstr>Georgia</vt:lpstr>
      <vt:lpstr>Lato</vt:lpstr>
      <vt:lpstr>Wingdings</vt:lpstr>
      <vt:lpstr>ヒラギノ角ゴ Pro W3</vt:lpstr>
      <vt:lpstr>1_Custom Design</vt:lpstr>
      <vt:lpstr>7_Office Theme</vt:lpstr>
      <vt:lpstr>12_Office Theme</vt:lpstr>
      <vt:lpstr>8_Office Theme</vt:lpstr>
      <vt:lpstr>11_Office Theme</vt:lpstr>
      <vt:lpstr>2_Custom Design</vt:lpstr>
      <vt:lpstr>3_Office Theme</vt:lpstr>
      <vt:lpstr>13_Office Theme</vt:lpstr>
      <vt:lpstr>14_Office Theme</vt:lpstr>
      <vt:lpstr>15_Office Theme</vt:lpstr>
      <vt:lpstr>3_Custom Design</vt:lpstr>
      <vt:lpstr>4_Custom Design</vt:lpstr>
      <vt:lpstr>5_Custom Design</vt:lpstr>
      <vt:lpstr>6_Custom Design</vt:lpstr>
      <vt:lpstr>16_Office Theme</vt:lpstr>
      <vt:lpstr>VA Theme</vt:lpstr>
      <vt:lpstr>17_Office Theme</vt:lpstr>
      <vt:lpstr>9_Office Theme</vt:lpstr>
      <vt:lpstr>40_Office Theme</vt:lpstr>
      <vt:lpstr>VHA Theme1</vt:lpstr>
      <vt:lpstr>18_Office Theme</vt:lpstr>
      <vt:lpstr>1_VHA PP</vt:lpstr>
      <vt:lpstr>39_Office Theme</vt:lpstr>
      <vt:lpstr>think-cell Slide</vt:lpstr>
      <vt:lpstr>Community Care Emergency Notification Process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ults PI Call</dc:title>
  <dc:creator>de Silva, Natasha</dc:creator>
  <cp:lastModifiedBy>Holly Kularski</cp:lastModifiedBy>
  <cp:revision>139</cp:revision>
  <dcterms:created xsi:type="dcterms:W3CDTF">2020-01-09T17:48:10Z</dcterms:created>
  <dcterms:modified xsi:type="dcterms:W3CDTF">2020-06-18T18:47:21Z</dcterms:modified>
</cp:coreProperties>
</file>